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70" r:id="rId6"/>
  </p:sldMasterIdLst>
  <p:sldIdLst>
    <p:sldId id="2549" r:id="rId7"/>
    <p:sldId id="2529" r:id="rId8"/>
    <p:sldId id="2539" r:id="rId9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73CF99-DA51-40A7-82A4-2AAAB180287B}" v="72" dt="2021-01-12T09:44:07.1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aridge, Helen" userId="940b0e91-992c-4dcd-8819-01d610d9b509" providerId="ADAL" clId="{8973CF99-DA51-40A7-82A4-2AAAB180287B}"/>
    <pc:docChg chg="custSel modSld modMainMaster">
      <pc:chgData name="Claridge, Helen" userId="940b0e91-992c-4dcd-8819-01d610d9b509" providerId="ADAL" clId="{8973CF99-DA51-40A7-82A4-2AAAB180287B}" dt="2021-01-12T09:44:07.169" v="302"/>
      <pc:docMkLst>
        <pc:docMk/>
      </pc:docMkLst>
      <pc:sldChg chg="addSp modSp">
        <pc:chgData name="Claridge, Helen" userId="940b0e91-992c-4dcd-8819-01d610d9b509" providerId="ADAL" clId="{8973CF99-DA51-40A7-82A4-2AAAB180287B}" dt="2021-01-12T09:43:59.376" v="242" actId="20577"/>
        <pc:sldMkLst>
          <pc:docMk/>
          <pc:sldMk cId="1373043150" sldId="2529"/>
        </pc:sldMkLst>
        <pc:spChg chg="mod ord">
          <ac:chgData name="Claridge, Helen" userId="940b0e91-992c-4dcd-8819-01d610d9b509" providerId="ADAL" clId="{8973CF99-DA51-40A7-82A4-2AAAB180287B}" dt="2021-01-12T09:43:52.738" v="227" actId="20577"/>
          <ac:spMkLst>
            <pc:docMk/>
            <pc:sldMk cId="1373043150" sldId="2529"/>
            <ac:spMk id="2" creationId="{CB02BEAA-566C-1C46-BD6A-6F0DD9306B06}"/>
          </ac:spMkLst>
        </pc:spChg>
        <pc:spChg chg="mod ord">
          <ac:chgData name="Claridge, Helen" userId="940b0e91-992c-4dcd-8819-01d610d9b509" providerId="ADAL" clId="{8973CF99-DA51-40A7-82A4-2AAAB180287B}" dt="2021-01-12T09:43:50.655" v="192"/>
          <ac:spMkLst>
            <pc:docMk/>
            <pc:sldMk cId="1373043150" sldId="2529"/>
            <ac:spMk id="3" creationId="{3EF1C090-DB98-3C4D-8410-44CF0263B990}"/>
          </ac:spMkLst>
        </pc:spChg>
        <pc:spChg chg="add mod ord modVis">
          <ac:chgData name="Claridge, Helen" userId="940b0e91-992c-4dcd-8819-01d610d9b509" providerId="ADAL" clId="{8973CF99-DA51-40A7-82A4-2AAAB180287B}" dt="2021-01-12T09:43:50.655" v="188"/>
          <ac:spMkLst>
            <pc:docMk/>
            <pc:sldMk cId="1373043150" sldId="2529"/>
            <ac:spMk id="4" creationId="{BD0588D4-6ACB-4AF4-9235-FFEDBFD98731}"/>
          </ac:spMkLst>
        </pc:spChg>
        <pc:spChg chg="mod ord">
          <ac:chgData name="Claridge, Helen" userId="940b0e91-992c-4dcd-8819-01d610d9b509" providerId="ADAL" clId="{8973CF99-DA51-40A7-82A4-2AAAB180287B}" dt="2021-01-12T09:43:59.376" v="242" actId="20577"/>
          <ac:spMkLst>
            <pc:docMk/>
            <pc:sldMk cId="1373043150" sldId="2529"/>
            <ac:spMk id="7" creationId="{062B87DA-D46D-437A-91D6-619F11EA9B2B}"/>
          </ac:spMkLst>
        </pc:spChg>
        <pc:grpChg chg="mod ord">
          <ac:chgData name="Claridge, Helen" userId="940b0e91-992c-4dcd-8819-01d610d9b509" providerId="ADAL" clId="{8973CF99-DA51-40A7-82A4-2AAAB180287B}" dt="2021-01-12T09:43:50.655" v="198"/>
          <ac:grpSpMkLst>
            <pc:docMk/>
            <pc:sldMk cId="1373043150" sldId="2529"/>
            <ac:grpSpMk id="8" creationId="{8F9613B2-4B1D-41A9-9D8F-3F442E1DB022}"/>
          </ac:grpSpMkLst>
        </pc:grpChg>
        <pc:graphicFrameChg chg="add mod ord modVis">
          <ac:chgData name="Claridge, Helen" userId="940b0e91-992c-4dcd-8819-01d610d9b509" providerId="ADAL" clId="{8973CF99-DA51-40A7-82A4-2AAAB180287B}" dt="2021-01-12T09:43:53.246" v="229"/>
          <ac:graphicFrameMkLst>
            <pc:docMk/>
            <pc:sldMk cId="1373043150" sldId="2529"/>
            <ac:graphicFrameMk id="5" creationId="{126C1146-A7BC-4C36-AB09-C4178A811631}"/>
          </ac:graphicFrameMkLst>
        </pc:graphicFrameChg>
        <pc:picChg chg="mod ord">
          <ac:chgData name="Claridge, Helen" userId="940b0e91-992c-4dcd-8819-01d610d9b509" providerId="ADAL" clId="{8973CF99-DA51-40A7-82A4-2AAAB180287B}" dt="2021-01-12T09:43:50.655" v="194"/>
          <ac:picMkLst>
            <pc:docMk/>
            <pc:sldMk cId="1373043150" sldId="2529"/>
            <ac:picMk id="6" creationId="{3E03FFAD-0CF7-4609-A7FD-9BC42B40317C}"/>
          </ac:picMkLst>
        </pc:picChg>
      </pc:sldChg>
      <pc:sldChg chg="addSp modSp">
        <pc:chgData name="Claridge, Helen" userId="940b0e91-992c-4dcd-8819-01d610d9b509" providerId="ADAL" clId="{8973CF99-DA51-40A7-82A4-2AAAB180287B}" dt="2021-01-12T09:44:07.169" v="302"/>
        <pc:sldMkLst>
          <pc:docMk/>
          <pc:sldMk cId="1264302921" sldId="2539"/>
        </pc:sldMkLst>
        <pc:spChg chg="mod ord">
          <ac:chgData name="Claridge, Helen" userId="940b0e91-992c-4dcd-8819-01d610d9b509" providerId="ADAL" clId="{8973CF99-DA51-40A7-82A4-2AAAB180287B}" dt="2021-01-12T09:44:07.147" v="286"/>
          <ac:spMkLst>
            <pc:docMk/>
            <pc:sldMk cId="1264302921" sldId="2539"/>
            <ac:spMk id="2" creationId="{CB02BEAA-566C-1C46-BD6A-6F0DD9306B06}"/>
          </ac:spMkLst>
        </pc:spChg>
        <pc:spChg chg="add mod ord modVis">
          <ac:chgData name="Claridge, Helen" userId="940b0e91-992c-4dcd-8819-01d610d9b509" providerId="ADAL" clId="{8973CF99-DA51-40A7-82A4-2AAAB180287B}" dt="2021-01-12T09:44:07.147" v="284"/>
          <ac:spMkLst>
            <pc:docMk/>
            <pc:sldMk cId="1264302921" sldId="2539"/>
            <ac:spMk id="3" creationId="{74168C07-A58A-4AFE-A5A4-B14277C9D8ED}"/>
          </ac:spMkLst>
        </pc:spChg>
        <pc:graphicFrameChg chg="add mod ord modVis">
          <ac:chgData name="Claridge, Helen" userId="940b0e91-992c-4dcd-8819-01d610d9b509" providerId="ADAL" clId="{8973CF99-DA51-40A7-82A4-2AAAB180287B}" dt="2021-01-12T09:44:07.169" v="302"/>
          <ac:graphicFrameMkLst>
            <pc:docMk/>
            <pc:sldMk cId="1264302921" sldId="2539"/>
            <ac:graphicFrameMk id="4" creationId="{2C7F371D-A63A-4FCA-A8FB-D521BD53AA32}"/>
          </ac:graphicFrameMkLst>
        </pc:graphicFrameChg>
        <pc:graphicFrameChg chg="mod">
          <ac:chgData name="Claridge, Helen" userId="940b0e91-992c-4dcd-8819-01d610d9b509" providerId="ADAL" clId="{8973CF99-DA51-40A7-82A4-2AAAB180287B}" dt="2021-01-12T09:44:07.147" v="287"/>
          <ac:graphicFrameMkLst>
            <pc:docMk/>
            <pc:sldMk cId="1264302921" sldId="2539"/>
            <ac:graphicFrameMk id="20" creationId="{6C08F2E7-1295-42E4-8D81-6FF387A27C3F}"/>
          </ac:graphicFrameMkLst>
        </pc:graphicFrameChg>
      </pc:sldChg>
      <pc:sldChg chg="addSp modSp">
        <pc:chgData name="Claridge, Helen" userId="940b0e91-992c-4dcd-8819-01d610d9b509" providerId="ADAL" clId="{8973CF99-DA51-40A7-82A4-2AAAB180287B}" dt="2021-01-12T09:43:44.185" v="152" actId="20577"/>
        <pc:sldMkLst>
          <pc:docMk/>
          <pc:sldMk cId="597702998" sldId="2549"/>
        </pc:sldMkLst>
        <pc:spChg chg="mod ord">
          <ac:chgData name="Claridge, Helen" userId="940b0e91-992c-4dcd-8819-01d610d9b509" providerId="ADAL" clId="{8973CF99-DA51-40A7-82A4-2AAAB180287B}" dt="2021-01-12T09:43:09.973" v="94"/>
          <ac:spMkLst>
            <pc:docMk/>
            <pc:sldMk cId="597702998" sldId="2549"/>
            <ac:spMk id="2" creationId="{CB02BEAA-566C-1C46-BD6A-6F0DD9306B06}"/>
          </ac:spMkLst>
        </pc:spChg>
        <pc:spChg chg="add mod ord modVis">
          <ac:chgData name="Claridge, Helen" userId="940b0e91-992c-4dcd-8819-01d610d9b509" providerId="ADAL" clId="{8973CF99-DA51-40A7-82A4-2AAAB180287B}" dt="2021-01-12T09:43:09.973" v="92"/>
          <ac:spMkLst>
            <pc:docMk/>
            <pc:sldMk cId="597702998" sldId="2549"/>
            <ac:spMk id="4" creationId="{88E401B1-2392-4508-B58D-BA8394B85611}"/>
          </ac:spMkLst>
        </pc:spChg>
        <pc:spChg chg="mod ord">
          <ac:chgData name="Claridge, Helen" userId="940b0e91-992c-4dcd-8819-01d610d9b509" providerId="ADAL" clId="{8973CF99-DA51-40A7-82A4-2AAAB180287B}" dt="2021-01-12T09:43:09.973" v="96"/>
          <ac:spMkLst>
            <pc:docMk/>
            <pc:sldMk cId="597702998" sldId="2549"/>
            <ac:spMk id="11" creationId="{6E500C16-316C-478C-A907-368E72C37972}"/>
          </ac:spMkLst>
        </pc:spChg>
        <pc:spChg chg="mod ord">
          <ac:chgData name="Claridge, Helen" userId="940b0e91-992c-4dcd-8819-01d610d9b509" providerId="ADAL" clId="{8973CF99-DA51-40A7-82A4-2AAAB180287B}" dt="2021-01-12T09:43:44.185" v="152" actId="20577"/>
          <ac:spMkLst>
            <pc:docMk/>
            <pc:sldMk cId="597702998" sldId="2549"/>
            <ac:spMk id="12" creationId="{0EEAD888-1D3E-4EC1-BC14-E56EAFDD746D}"/>
          </ac:spMkLst>
        </pc:spChg>
        <pc:graphicFrameChg chg="add mod ord modVis">
          <ac:chgData name="Claridge, Helen" userId="940b0e91-992c-4dcd-8819-01d610d9b509" providerId="ADAL" clId="{8973CF99-DA51-40A7-82A4-2AAAB180287B}" dt="2021-01-12T09:43:09.973" v="100"/>
          <ac:graphicFrameMkLst>
            <pc:docMk/>
            <pc:sldMk cId="597702998" sldId="2549"/>
            <ac:graphicFrameMk id="3" creationId="{25395C42-2FEE-46A7-B4C6-479011AB8AA7}"/>
          </ac:graphicFrameMkLst>
        </pc:graphicFrameChg>
      </pc:sldChg>
      <pc:sldMasterChg chg="addSp modSp">
        <pc:chgData name="Claridge, Helen" userId="940b0e91-992c-4dcd-8819-01d610d9b509" providerId="ADAL" clId="{8973CF99-DA51-40A7-82A4-2AAAB180287B}" dt="2021-01-12T09:43:04.479" v="16"/>
        <pc:sldMasterMkLst>
          <pc:docMk/>
          <pc:sldMasterMk cId="3221154001" sldId="2147483670"/>
        </pc:sldMasterMkLst>
        <pc:graphicFrameChg chg="add mod ord modVis">
          <ac:chgData name="Claridge, Helen" userId="940b0e91-992c-4dcd-8819-01d610d9b509" providerId="ADAL" clId="{8973CF99-DA51-40A7-82A4-2AAAB180287B}" dt="2021-01-12T09:43:04.479" v="16"/>
          <ac:graphicFrameMkLst>
            <pc:docMk/>
            <pc:sldMasterMk cId="3221154001" sldId="2147483670"/>
            <ac:graphicFrameMk id="2" creationId="{2FAC46BD-9B64-4822-AFE6-F4E8A370078A}"/>
          </ac:graphicFrameMkLst>
        </pc:graphicFrame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F8D387B-3F7D-42DA-9FC4-E7F1D3AED25D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FB72500-C9DD-44F7-8B61-A91BD0FB94F1}">
      <dgm:prSet phldrT="[Text]"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de-DE" dirty="0"/>
            <a:t>Content</a:t>
          </a:r>
        </a:p>
      </dgm:t>
    </dgm:pt>
    <dgm:pt modelId="{B13166C6-5111-4430-B085-C7D0478D642B}" type="parTrans" cxnId="{27A88FAA-2C0D-4D8B-9C18-602688E2A63D}">
      <dgm:prSet/>
      <dgm:spPr/>
      <dgm:t>
        <a:bodyPr/>
        <a:lstStyle/>
        <a:p>
          <a:endParaRPr lang="de-DE"/>
        </a:p>
      </dgm:t>
    </dgm:pt>
    <dgm:pt modelId="{6796AB45-DF63-4256-8463-9E2F4812FE5F}" type="sibTrans" cxnId="{27A88FAA-2C0D-4D8B-9C18-602688E2A63D}">
      <dgm:prSet/>
      <dgm:spPr/>
      <dgm:t>
        <a:bodyPr/>
        <a:lstStyle/>
        <a:p>
          <a:endParaRPr lang="de-DE"/>
        </a:p>
      </dgm:t>
    </dgm:pt>
    <dgm:pt modelId="{2E162297-A38F-4592-9BB6-5CB48DC1A046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 err="1"/>
            <a:t>Presentations</a:t>
          </a:r>
          <a:endParaRPr lang="de-DE" dirty="0"/>
        </a:p>
      </dgm:t>
    </dgm:pt>
    <dgm:pt modelId="{699FF836-7FB5-45B9-96A6-1EA68119F90B}" type="parTrans" cxnId="{402ED644-2EA7-4047-ADCB-D5B881D03D6E}">
      <dgm:prSet/>
      <dgm:spPr/>
      <dgm:t>
        <a:bodyPr/>
        <a:lstStyle/>
        <a:p>
          <a:endParaRPr lang="de-DE"/>
        </a:p>
      </dgm:t>
    </dgm:pt>
    <dgm:pt modelId="{1B0A0146-C3BC-4239-A764-0C2A1ADCAA43}" type="sibTrans" cxnId="{402ED644-2EA7-4047-ADCB-D5B881D03D6E}">
      <dgm:prSet/>
      <dgm:spPr/>
      <dgm:t>
        <a:bodyPr/>
        <a:lstStyle/>
        <a:p>
          <a:endParaRPr lang="de-DE"/>
        </a:p>
      </dgm:t>
    </dgm:pt>
    <dgm:pt modelId="{6603E8B1-B3E8-4C95-9E70-DE6F3446155C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Product related documents</a:t>
          </a:r>
        </a:p>
      </dgm:t>
    </dgm:pt>
    <dgm:pt modelId="{FAD2DAE3-62C7-4F4D-80EF-2CD70940B086}" type="parTrans" cxnId="{35C273E3-E533-4C20-95EA-9F4AD217B577}">
      <dgm:prSet/>
      <dgm:spPr/>
      <dgm:t>
        <a:bodyPr/>
        <a:lstStyle/>
        <a:p>
          <a:endParaRPr lang="de-DE"/>
        </a:p>
      </dgm:t>
    </dgm:pt>
    <dgm:pt modelId="{CEA2DC80-0110-4039-8B29-BEEA84ABB3EF}" type="sibTrans" cxnId="{35C273E3-E533-4C20-95EA-9F4AD217B577}">
      <dgm:prSet/>
      <dgm:spPr/>
      <dgm:t>
        <a:bodyPr/>
        <a:lstStyle/>
        <a:p>
          <a:endParaRPr lang="de-DE"/>
        </a:p>
      </dgm:t>
    </dgm:pt>
    <dgm:pt modelId="{1B804E7E-F481-40A0-BF11-71B2D39D308E}">
      <dgm:prSet phldrT="[Text]"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de-DE" dirty="0"/>
            <a:t>Education</a:t>
          </a:r>
        </a:p>
      </dgm:t>
    </dgm:pt>
    <dgm:pt modelId="{C5B0C47C-8A54-49BB-9723-3C38D2B242EB}" type="parTrans" cxnId="{723A5C65-188B-48C3-B5E1-676A2A973E50}">
      <dgm:prSet/>
      <dgm:spPr/>
      <dgm:t>
        <a:bodyPr/>
        <a:lstStyle/>
        <a:p>
          <a:endParaRPr lang="de-DE"/>
        </a:p>
      </dgm:t>
    </dgm:pt>
    <dgm:pt modelId="{7A3EF9AF-1C3D-41D4-A7BC-F74D2AB02F81}" type="sibTrans" cxnId="{723A5C65-188B-48C3-B5E1-676A2A973E50}">
      <dgm:prSet/>
      <dgm:spPr/>
      <dgm:t>
        <a:bodyPr/>
        <a:lstStyle/>
        <a:p>
          <a:endParaRPr lang="de-DE"/>
        </a:p>
      </dgm:t>
    </dgm:pt>
    <dgm:pt modelId="{B63B0503-B73F-4AF3-B379-74A66822F5F7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Training Modules</a:t>
          </a:r>
        </a:p>
      </dgm:t>
    </dgm:pt>
    <dgm:pt modelId="{3350743F-5F66-42EB-A27F-690C525BDDA8}" type="parTrans" cxnId="{5F511C54-0257-426D-AC35-C429A2FA2A7C}">
      <dgm:prSet/>
      <dgm:spPr/>
      <dgm:t>
        <a:bodyPr/>
        <a:lstStyle/>
        <a:p>
          <a:endParaRPr lang="de-DE"/>
        </a:p>
      </dgm:t>
    </dgm:pt>
    <dgm:pt modelId="{04040415-C522-4DB9-9112-11A00BF7B8A6}" type="sibTrans" cxnId="{5F511C54-0257-426D-AC35-C429A2FA2A7C}">
      <dgm:prSet/>
      <dgm:spPr/>
      <dgm:t>
        <a:bodyPr/>
        <a:lstStyle/>
        <a:p>
          <a:endParaRPr lang="de-DE"/>
        </a:p>
      </dgm:t>
    </dgm:pt>
    <dgm:pt modelId="{61DA79C7-0647-4699-A15A-8B7417A5FFA6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Self-</a:t>
          </a:r>
          <a:r>
            <a:rPr lang="de-DE" dirty="0" err="1"/>
            <a:t>learning</a:t>
          </a:r>
          <a:r>
            <a:rPr lang="de-DE" dirty="0"/>
            <a:t> </a:t>
          </a:r>
          <a:r>
            <a:rPr lang="de-DE" dirty="0" err="1"/>
            <a:t>portal</a:t>
          </a:r>
          <a:endParaRPr lang="de-DE" dirty="0"/>
        </a:p>
      </dgm:t>
    </dgm:pt>
    <dgm:pt modelId="{9AE68E61-2CD1-4122-A3A1-8B4B43268271}" type="parTrans" cxnId="{697C5365-1ED6-4CA1-8774-33EAB28A5F9B}">
      <dgm:prSet/>
      <dgm:spPr/>
      <dgm:t>
        <a:bodyPr/>
        <a:lstStyle/>
        <a:p>
          <a:endParaRPr lang="de-DE"/>
        </a:p>
      </dgm:t>
    </dgm:pt>
    <dgm:pt modelId="{45F98FCE-06C8-4410-9236-145D89FA295F}" type="sibTrans" cxnId="{697C5365-1ED6-4CA1-8774-33EAB28A5F9B}">
      <dgm:prSet/>
      <dgm:spPr/>
      <dgm:t>
        <a:bodyPr/>
        <a:lstStyle/>
        <a:p>
          <a:endParaRPr lang="de-DE"/>
        </a:p>
      </dgm:t>
    </dgm:pt>
    <dgm:pt modelId="{D1317668-DF18-462C-9611-3A4A73ED838A}">
      <dgm:prSet phldrT="[Text]"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de-DE" dirty="0"/>
            <a:t>Marketing</a:t>
          </a:r>
        </a:p>
      </dgm:t>
    </dgm:pt>
    <dgm:pt modelId="{62A5E1B1-3954-4AD2-88AC-A4543595AA69}" type="parTrans" cxnId="{B736C34C-609E-4756-8D62-143B1F294DEF}">
      <dgm:prSet/>
      <dgm:spPr/>
      <dgm:t>
        <a:bodyPr/>
        <a:lstStyle/>
        <a:p>
          <a:endParaRPr lang="de-DE"/>
        </a:p>
      </dgm:t>
    </dgm:pt>
    <dgm:pt modelId="{8F61AE96-CE9F-4C7C-B131-357A634326F2}" type="sibTrans" cxnId="{B736C34C-609E-4756-8D62-143B1F294DEF}">
      <dgm:prSet/>
      <dgm:spPr/>
      <dgm:t>
        <a:bodyPr/>
        <a:lstStyle/>
        <a:p>
          <a:endParaRPr lang="de-DE"/>
        </a:p>
      </dgm:t>
    </dgm:pt>
    <dgm:pt modelId="{6111499F-7E84-4FFD-997A-440D39CC9DA7}">
      <dgm:prSet phldrT="[Text]"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de-DE" dirty="0" err="1"/>
            <a:t>Availability</a:t>
          </a:r>
          <a:endParaRPr lang="de-DE" dirty="0"/>
        </a:p>
      </dgm:t>
    </dgm:pt>
    <dgm:pt modelId="{71D38FEE-DCAF-4607-9AB3-9F10954121A1}" type="parTrans" cxnId="{AE0D3608-A91A-46FF-BD33-2391DCF1918A}">
      <dgm:prSet/>
      <dgm:spPr/>
      <dgm:t>
        <a:bodyPr/>
        <a:lstStyle/>
        <a:p>
          <a:endParaRPr lang="de-DE"/>
        </a:p>
      </dgm:t>
    </dgm:pt>
    <dgm:pt modelId="{22603663-75D8-4D1C-B078-D4B9175676D6}" type="sibTrans" cxnId="{AE0D3608-A91A-46FF-BD33-2391DCF1918A}">
      <dgm:prSet/>
      <dgm:spPr/>
      <dgm:t>
        <a:bodyPr/>
        <a:lstStyle/>
        <a:p>
          <a:endParaRPr lang="de-DE"/>
        </a:p>
      </dgm:t>
    </dgm:pt>
    <dgm:pt modelId="{5CAF40A1-9D11-44C3-8869-7B202CBC5480}">
      <dgm:prSet phldrT="[Text]"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de-DE" dirty="0"/>
            <a:t>Performance</a:t>
          </a:r>
        </a:p>
      </dgm:t>
    </dgm:pt>
    <dgm:pt modelId="{490ADDD9-A1B8-4CBE-AFAF-E81541EF245E}" type="parTrans" cxnId="{F1223FAB-96B5-44D4-BDD5-C61F8FF8BD57}">
      <dgm:prSet/>
      <dgm:spPr/>
      <dgm:t>
        <a:bodyPr/>
        <a:lstStyle/>
        <a:p>
          <a:endParaRPr lang="de-DE"/>
        </a:p>
      </dgm:t>
    </dgm:pt>
    <dgm:pt modelId="{44F1534B-3F6F-4C0C-AAD3-D677E7DED2EA}" type="sibTrans" cxnId="{F1223FAB-96B5-44D4-BDD5-C61F8FF8BD57}">
      <dgm:prSet/>
      <dgm:spPr/>
      <dgm:t>
        <a:bodyPr/>
        <a:lstStyle/>
        <a:p>
          <a:endParaRPr lang="de-DE"/>
        </a:p>
      </dgm:t>
    </dgm:pt>
    <dgm:pt modelId="{2D438D4B-2BE5-47A6-BE88-B978CD5FDD42}">
      <dgm:prSet phldrT="[Text]"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de-DE" dirty="0"/>
            <a:t>CSC</a:t>
          </a:r>
        </a:p>
      </dgm:t>
    </dgm:pt>
    <dgm:pt modelId="{EE09FC50-4476-4A3A-9324-CF3B7DF530CC}" type="parTrans" cxnId="{61B6EDF4-DD08-4042-87E4-B148653BC51B}">
      <dgm:prSet/>
      <dgm:spPr/>
      <dgm:t>
        <a:bodyPr/>
        <a:lstStyle/>
        <a:p>
          <a:endParaRPr lang="de-DE"/>
        </a:p>
      </dgm:t>
    </dgm:pt>
    <dgm:pt modelId="{166A3B23-744D-4A4C-8831-750ABBDF12F4}" type="sibTrans" cxnId="{61B6EDF4-DD08-4042-87E4-B148653BC51B}">
      <dgm:prSet/>
      <dgm:spPr/>
      <dgm:t>
        <a:bodyPr/>
        <a:lstStyle/>
        <a:p>
          <a:endParaRPr lang="de-DE"/>
        </a:p>
      </dgm:t>
    </dgm:pt>
    <dgm:pt modelId="{D91ED6B5-7400-4294-B8F9-E232B2B1A68A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Vision, Mission, </a:t>
          </a:r>
          <a:r>
            <a:rPr lang="de-DE" dirty="0" err="1"/>
            <a:t>Strategy</a:t>
          </a:r>
          <a:endParaRPr lang="de-DE" dirty="0"/>
        </a:p>
      </dgm:t>
    </dgm:pt>
    <dgm:pt modelId="{69498214-F2AF-449B-A903-C0FF24194CEA}" type="parTrans" cxnId="{51B92C2A-C832-4BB9-8590-68FF55E589CC}">
      <dgm:prSet/>
      <dgm:spPr/>
      <dgm:t>
        <a:bodyPr/>
        <a:lstStyle/>
        <a:p>
          <a:endParaRPr lang="de-DE"/>
        </a:p>
      </dgm:t>
    </dgm:pt>
    <dgm:pt modelId="{B3C3329E-5142-4BD4-B7A2-799AE189602C}" type="sibTrans" cxnId="{51B92C2A-C832-4BB9-8590-68FF55E589CC}">
      <dgm:prSet/>
      <dgm:spPr/>
      <dgm:t>
        <a:bodyPr/>
        <a:lstStyle/>
        <a:p>
          <a:endParaRPr lang="de-DE"/>
        </a:p>
      </dgm:t>
    </dgm:pt>
    <dgm:pt modelId="{138E9FFF-5527-4EFD-978F-CB4006125E88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 err="1"/>
            <a:t>Campaigns</a:t>
          </a:r>
          <a:endParaRPr lang="de-DE" dirty="0"/>
        </a:p>
      </dgm:t>
    </dgm:pt>
    <dgm:pt modelId="{36E8FB36-7532-4F2B-B4CE-BB1ACAE1D7E1}" type="parTrans" cxnId="{A6BA77F0-E269-4CD1-81C0-9F3F55CAC0F2}">
      <dgm:prSet/>
      <dgm:spPr/>
      <dgm:t>
        <a:bodyPr/>
        <a:lstStyle/>
        <a:p>
          <a:endParaRPr lang="de-DE"/>
        </a:p>
      </dgm:t>
    </dgm:pt>
    <dgm:pt modelId="{6F931E55-017B-479C-9B28-FC996E723933}" type="sibTrans" cxnId="{A6BA77F0-E269-4CD1-81C0-9F3F55CAC0F2}">
      <dgm:prSet/>
      <dgm:spPr/>
      <dgm:t>
        <a:bodyPr/>
        <a:lstStyle/>
        <a:p>
          <a:endParaRPr lang="de-DE"/>
        </a:p>
      </dgm:t>
    </dgm:pt>
    <dgm:pt modelId="{9150F9A4-0FCF-4B99-9AC8-C402BFB0E9DA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 err="1"/>
            <a:t>Mobilization</a:t>
          </a:r>
          <a:endParaRPr lang="de-DE" dirty="0"/>
        </a:p>
      </dgm:t>
    </dgm:pt>
    <dgm:pt modelId="{1EEE846B-B061-4F7C-B525-6BA2752E730B}" type="parTrans" cxnId="{C30D954F-B275-4A74-B5E8-7B6E4799EC3E}">
      <dgm:prSet/>
      <dgm:spPr/>
      <dgm:t>
        <a:bodyPr/>
        <a:lstStyle/>
        <a:p>
          <a:endParaRPr lang="de-DE"/>
        </a:p>
      </dgm:t>
    </dgm:pt>
    <dgm:pt modelId="{F1418533-2BBA-49EF-9F22-71B50732D200}" type="sibTrans" cxnId="{C30D954F-B275-4A74-B5E8-7B6E4799EC3E}">
      <dgm:prSet/>
      <dgm:spPr/>
      <dgm:t>
        <a:bodyPr/>
        <a:lstStyle/>
        <a:p>
          <a:endParaRPr lang="de-DE"/>
        </a:p>
      </dgm:t>
    </dgm:pt>
    <dgm:pt modelId="{3C64D3B9-1627-4AB0-B988-083318F29FB1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 err="1"/>
            <a:t>Actual</a:t>
          </a:r>
          <a:r>
            <a:rPr lang="de-DE" dirty="0"/>
            <a:t> Stock </a:t>
          </a:r>
          <a:r>
            <a:rPr lang="de-DE" dirty="0" err="1"/>
            <a:t>information</a:t>
          </a:r>
          <a:endParaRPr lang="de-DE" dirty="0"/>
        </a:p>
      </dgm:t>
    </dgm:pt>
    <dgm:pt modelId="{B116EC67-9210-4B3B-B7AC-2C27CD9587A1}" type="parTrans" cxnId="{D3DB6217-345F-42CF-B5F5-D2748AA72997}">
      <dgm:prSet/>
      <dgm:spPr/>
      <dgm:t>
        <a:bodyPr/>
        <a:lstStyle/>
        <a:p>
          <a:endParaRPr lang="de-DE"/>
        </a:p>
      </dgm:t>
    </dgm:pt>
    <dgm:pt modelId="{77AB999B-2D1B-4862-BAFD-9DF5A55ECB1C}" type="sibTrans" cxnId="{D3DB6217-345F-42CF-B5F5-D2748AA72997}">
      <dgm:prSet/>
      <dgm:spPr/>
      <dgm:t>
        <a:bodyPr/>
        <a:lstStyle/>
        <a:p>
          <a:endParaRPr lang="de-DE"/>
        </a:p>
      </dgm:t>
    </dgm:pt>
    <dgm:pt modelId="{4FA30A7B-F951-4603-BE13-88DC2414DC0B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 err="1"/>
            <a:t>Contracts</a:t>
          </a:r>
          <a:endParaRPr lang="de-DE" dirty="0"/>
        </a:p>
      </dgm:t>
    </dgm:pt>
    <dgm:pt modelId="{77C4B35F-FEF5-4829-BCA1-4B624CC1C65E}" type="parTrans" cxnId="{1214CD79-4A20-4ED1-BEDC-87A7EBD58D73}">
      <dgm:prSet/>
      <dgm:spPr/>
      <dgm:t>
        <a:bodyPr/>
        <a:lstStyle/>
        <a:p>
          <a:endParaRPr lang="de-DE"/>
        </a:p>
      </dgm:t>
    </dgm:pt>
    <dgm:pt modelId="{71352039-9FFA-4F60-BAEE-A8BBA9CAF188}" type="sibTrans" cxnId="{1214CD79-4A20-4ED1-BEDC-87A7EBD58D73}">
      <dgm:prSet/>
      <dgm:spPr/>
      <dgm:t>
        <a:bodyPr/>
        <a:lstStyle/>
        <a:p>
          <a:endParaRPr lang="de-DE"/>
        </a:p>
      </dgm:t>
    </dgm:pt>
    <dgm:pt modelId="{56ED83B2-4117-448C-9CB7-C3AFED71ADD6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Individual Targets</a:t>
          </a:r>
        </a:p>
      </dgm:t>
    </dgm:pt>
    <dgm:pt modelId="{34215446-F3BE-49FE-9AE9-92629D3798C3}" type="parTrans" cxnId="{BC18D09B-5DBD-4BC8-BA6F-6544C902087E}">
      <dgm:prSet/>
      <dgm:spPr/>
      <dgm:t>
        <a:bodyPr/>
        <a:lstStyle/>
        <a:p>
          <a:endParaRPr lang="de-DE"/>
        </a:p>
      </dgm:t>
    </dgm:pt>
    <dgm:pt modelId="{D0CC4475-7C21-4092-BB4D-55E33701BF4D}" type="sibTrans" cxnId="{BC18D09B-5DBD-4BC8-BA6F-6544C902087E}">
      <dgm:prSet/>
      <dgm:spPr/>
      <dgm:t>
        <a:bodyPr/>
        <a:lstStyle/>
        <a:p>
          <a:endParaRPr lang="de-DE"/>
        </a:p>
      </dgm:t>
    </dgm:pt>
    <dgm:pt modelId="{5DF80E0A-257E-4BFB-B306-26FA9F849725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Order Status</a:t>
          </a:r>
        </a:p>
      </dgm:t>
    </dgm:pt>
    <dgm:pt modelId="{38B8B32E-7FD1-41D2-A086-E1852F34C7F7}" type="parTrans" cxnId="{E9B6B8D0-D412-42DA-9910-ADBB6DBC5ED5}">
      <dgm:prSet/>
      <dgm:spPr/>
      <dgm:t>
        <a:bodyPr/>
        <a:lstStyle/>
        <a:p>
          <a:endParaRPr lang="de-DE"/>
        </a:p>
      </dgm:t>
    </dgm:pt>
    <dgm:pt modelId="{574797E4-7718-4409-BD4F-10FFDB54E34A}" type="sibTrans" cxnId="{E9B6B8D0-D412-42DA-9910-ADBB6DBC5ED5}">
      <dgm:prSet/>
      <dgm:spPr/>
      <dgm:t>
        <a:bodyPr/>
        <a:lstStyle/>
        <a:p>
          <a:endParaRPr lang="de-DE"/>
        </a:p>
      </dgm:t>
    </dgm:pt>
    <dgm:pt modelId="{8FE57A4B-4043-4D59-8434-14A2470C32EE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Order </a:t>
          </a:r>
          <a:r>
            <a:rPr lang="de-DE" dirty="0" err="1"/>
            <a:t>Platform</a:t>
          </a:r>
          <a:endParaRPr lang="de-DE" dirty="0"/>
        </a:p>
      </dgm:t>
    </dgm:pt>
    <dgm:pt modelId="{CF2B541D-3593-413C-8D60-13F055CFDFB8}" type="parTrans" cxnId="{586E596D-93CD-4C87-A28A-625D0A71CE37}">
      <dgm:prSet/>
      <dgm:spPr/>
      <dgm:t>
        <a:bodyPr/>
        <a:lstStyle/>
        <a:p>
          <a:endParaRPr lang="de-DE"/>
        </a:p>
      </dgm:t>
    </dgm:pt>
    <dgm:pt modelId="{8DBD9FF9-72CB-4BB7-904E-1C12C888E667}" type="sibTrans" cxnId="{586E596D-93CD-4C87-A28A-625D0A71CE37}">
      <dgm:prSet/>
      <dgm:spPr/>
      <dgm:t>
        <a:bodyPr/>
        <a:lstStyle/>
        <a:p>
          <a:endParaRPr lang="de-DE"/>
        </a:p>
      </dgm:t>
    </dgm:pt>
    <dgm:pt modelId="{5EDE12E2-5F7B-4271-A384-A2F98E51A591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Lead Generation</a:t>
          </a:r>
        </a:p>
      </dgm:t>
    </dgm:pt>
    <dgm:pt modelId="{C6699554-D850-47D0-906C-5F019E77FD2E}" type="parTrans" cxnId="{6CBD1662-4A64-4EAF-B2D5-44D0A5A48C42}">
      <dgm:prSet/>
      <dgm:spPr/>
      <dgm:t>
        <a:bodyPr/>
        <a:lstStyle/>
        <a:p>
          <a:endParaRPr lang="de-DE"/>
        </a:p>
      </dgm:t>
    </dgm:pt>
    <dgm:pt modelId="{494BFB69-B8BA-4E01-8D0C-23C0E1604D63}" type="sibTrans" cxnId="{6CBD1662-4A64-4EAF-B2D5-44D0A5A48C42}">
      <dgm:prSet/>
      <dgm:spPr/>
      <dgm:t>
        <a:bodyPr/>
        <a:lstStyle/>
        <a:p>
          <a:endParaRPr lang="de-DE"/>
        </a:p>
      </dgm:t>
    </dgm:pt>
    <dgm:pt modelId="{8B937B9C-33E2-40BE-92DC-DC0B66E418D1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Web </a:t>
          </a:r>
          <a:r>
            <a:rPr lang="de-DE" dirty="0" err="1"/>
            <a:t>page</a:t>
          </a:r>
          <a:r>
            <a:rPr lang="de-DE" dirty="0"/>
            <a:t> </a:t>
          </a:r>
          <a:r>
            <a:rPr lang="de-DE" dirty="0" err="1"/>
            <a:t>content</a:t>
          </a:r>
          <a:endParaRPr lang="de-DE" dirty="0"/>
        </a:p>
      </dgm:t>
    </dgm:pt>
    <dgm:pt modelId="{9AECB401-F679-4FDB-8FBA-291E4E90DB0C}" type="parTrans" cxnId="{248313FD-C5BA-459A-9EB1-51A739A22638}">
      <dgm:prSet/>
      <dgm:spPr/>
      <dgm:t>
        <a:bodyPr/>
        <a:lstStyle/>
        <a:p>
          <a:endParaRPr lang="de-DE"/>
        </a:p>
      </dgm:t>
    </dgm:pt>
    <dgm:pt modelId="{9CC01A99-B436-4D97-8FEF-E757647648F2}" type="sibTrans" cxnId="{248313FD-C5BA-459A-9EB1-51A739A22638}">
      <dgm:prSet/>
      <dgm:spPr/>
      <dgm:t>
        <a:bodyPr/>
        <a:lstStyle/>
        <a:p>
          <a:endParaRPr lang="de-DE"/>
        </a:p>
      </dgm:t>
    </dgm:pt>
    <dgm:pt modelId="{60AA3967-2448-4675-BD04-BE21AF4134E7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Gift </a:t>
          </a:r>
          <a:r>
            <a:rPr lang="de-DE" dirty="0" err="1"/>
            <a:t>shop</a:t>
          </a:r>
          <a:endParaRPr lang="de-DE" dirty="0"/>
        </a:p>
      </dgm:t>
    </dgm:pt>
    <dgm:pt modelId="{31442DED-5D6A-4300-B799-805687BDD3E1}" type="parTrans" cxnId="{0A302D22-0EF8-46B0-90E5-98F1D0E94D7A}">
      <dgm:prSet/>
      <dgm:spPr/>
      <dgm:t>
        <a:bodyPr/>
        <a:lstStyle/>
        <a:p>
          <a:endParaRPr lang="de-DE"/>
        </a:p>
      </dgm:t>
    </dgm:pt>
    <dgm:pt modelId="{AB868FC1-3ED6-4A15-9FEA-E81573F0439F}" type="sibTrans" cxnId="{0A302D22-0EF8-46B0-90E5-98F1D0E94D7A}">
      <dgm:prSet/>
      <dgm:spPr/>
      <dgm:t>
        <a:bodyPr/>
        <a:lstStyle/>
        <a:p>
          <a:endParaRPr lang="de-DE"/>
        </a:p>
      </dgm:t>
    </dgm:pt>
    <dgm:pt modelId="{FB4EFE00-E7D2-4494-BDE8-64ECE97D61C5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Lead </a:t>
          </a:r>
          <a:r>
            <a:rPr lang="de-DE" dirty="0" err="1"/>
            <a:t>times</a:t>
          </a:r>
          <a:endParaRPr lang="de-DE" dirty="0"/>
        </a:p>
      </dgm:t>
    </dgm:pt>
    <dgm:pt modelId="{A9263E27-AA6F-4B4B-83E0-4C55E049C1D1}" type="parTrans" cxnId="{60B39AB0-88A0-4F00-B7EC-EF61C97FF6EC}">
      <dgm:prSet/>
      <dgm:spPr/>
      <dgm:t>
        <a:bodyPr/>
        <a:lstStyle/>
        <a:p>
          <a:endParaRPr lang="de-DE"/>
        </a:p>
      </dgm:t>
    </dgm:pt>
    <dgm:pt modelId="{FAFE40BD-3AC1-4753-A782-EA58877B64B3}" type="sibTrans" cxnId="{60B39AB0-88A0-4F00-B7EC-EF61C97FF6EC}">
      <dgm:prSet/>
      <dgm:spPr/>
      <dgm:t>
        <a:bodyPr/>
        <a:lstStyle/>
        <a:p>
          <a:endParaRPr lang="de-DE"/>
        </a:p>
      </dgm:t>
    </dgm:pt>
    <dgm:pt modelId="{DFBB32F0-9282-46B6-A9E7-94AF86C08B33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General </a:t>
          </a:r>
          <a:r>
            <a:rPr lang="de-DE" dirty="0" err="1"/>
            <a:t>Porfolio</a:t>
          </a:r>
          <a:endParaRPr lang="de-DE" dirty="0"/>
        </a:p>
      </dgm:t>
    </dgm:pt>
    <dgm:pt modelId="{DEB27C9C-0B95-41D5-94FB-2B1CF07EA543}" type="parTrans" cxnId="{74BC36DF-FBD2-431D-87CE-AF09DD27DC54}">
      <dgm:prSet/>
      <dgm:spPr/>
      <dgm:t>
        <a:bodyPr/>
        <a:lstStyle/>
        <a:p>
          <a:endParaRPr lang="de-DE"/>
        </a:p>
      </dgm:t>
    </dgm:pt>
    <dgm:pt modelId="{CA1A4845-7D48-47F5-98B8-F5E7C36EF961}" type="sibTrans" cxnId="{74BC36DF-FBD2-431D-87CE-AF09DD27DC54}">
      <dgm:prSet/>
      <dgm:spPr/>
      <dgm:t>
        <a:bodyPr/>
        <a:lstStyle/>
        <a:p>
          <a:endParaRPr lang="de-DE"/>
        </a:p>
      </dgm:t>
    </dgm:pt>
    <dgm:pt modelId="{CA19B2D5-330E-41A9-8E5C-2685C16443B1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Achievement </a:t>
          </a:r>
          <a:r>
            <a:rPr lang="de-DE" dirty="0" err="1"/>
            <a:t>levels</a:t>
          </a:r>
          <a:endParaRPr lang="de-DE" dirty="0"/>
        </a:p>
      </dgm:t>
    </dgm:pt>
    <dgm:pt modelId="{821F4587-C8A6-4B0F-9102-5F57A1544F5C}" type="parTrans" cxnId="{1A18F911-99D6-436B-BD60-22377CC451D4}">
      <dgm:prSet/>
      <dgm:spPr/>
      <dgm:t>
        <a:bodyPr/>
        <a:lstStyle/>
        <a:p>
          <a:endParaRPr lang="de-DE"/>
        </a:p>
      </dgm:t>
    </dgm:pt>
    <dgm:pt modelId="{71A74BF1-D865-4A14-889F-91C63FC193DC}" type="sibTrans" cxnId="{1A18F911-99D6-436B-BD60-22377CC451D4}">
      <dgm:prSet/>
      <dgm:spPr/>
      <dgm:t>
        <a:bodyPr/>
        <a:lstStyle/>
        <a:p>
          <a:endParaRPr lang="de-DE"/>
        </a:p>
      </dgm:t>
    </dgm:pt>
    <dgm:pt modelId="{995E531B-F52F-48DA-965A-0D23EFAB8A09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FOC Portal</a:t>
          </a:r>
        </a:p>
      </dgm:t>
    </dgm:pt>
    <dgm:pt modelId="{F137BF39-9935-4364-B04A-2CFE491951EA}" type="parTrans" cxnId="{FCBB7C6D-314B-449C-950F-5DA578963A96}">
      <dgm:prSet/>
      <dgm:spPr/>
      <dgm:t>
        <a:bodyPr/>
        <a:lstStyle/>
        <a:p>
          <a:endParaRPr lang="de-DE"/>
        </a:p>
      </dgm:t>
    </dgm:pt>
    <dgm:pt modelId="{8D5B314B-CD9A-427B-B46A-473AC3D0559F}" type="sibTrans" cxnId="{FCBB7C6D-314B-449C-950F-5DA578963A96}">
      <dgm:prSet/>
      <dgm:spPr/>
      <dgm:t>
        <a:bodyPr/>
        <a:lstStyle/>
        <a:p>
          <a:endParaRPr lang="de-DE"/>
        </a:p>
      </dgm:t>
    </dgm:pt>
    <dgm:pt modelId="{63EE9832-88BF-4F52-97AD-9DBB1FBD1CAA}">
      <dgm:prSet phldrT="[Text]"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de-DE" dirty="0"/>
            <a:t>Pricing</a:t>
          </a:r>
        </a:p>
      </dgm:t>
    </dgm:pt>
    <dgm:pt modelId="{CB842D97-E6A9-4088-81BD-8F3433000EC5}" type="sibTrans" cxnId="{1646565F-171E-4E62-8AFB-191884E6FC1F}">
      <dgm:prSet/>
      <dgm:spPr/>
      <dgm:t>
        <a:bodyPr/>
        <a:lstStyle/>
        <a:p>
          <a:endParaRPr lang="de-DE"/>
        </a:p>
      </dgm:t>
    </dgm:pt>
    <dgm:pt modelId="{533E0161-BD8F-4C07-985B-7267DF0BF9AC}" type="parTrans" cxnId="{1646565F-171E-4E62-8AFB-191884E6FC1F}">
      <dgm:prSet/>
      <dgm:spPr/>
      <dgm:t>
        <a:bodyPr/>
        <a:lstStyle/>
        <a:p>
          <a:endParaRPr lang="de-DE"/>
        </a:p>
      </dgm:t>
    </dgm:pt>
    <dgm:pt modelId="{96F651DD-A2AB-40E9-BD8D-A69C61A3AE58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 err="1"/>
            <a:t>Quotations</a:t>
          </a:r>
          <a:endParaRPr lang="de-DE" dirty="0"/>
        </a:p>
      </dgm:t>
    </dgm:pt>
    <dgm:pt modelId="{9A0BA745-DDCD-461B-AA0B-2766A1AB55ED}" type="sibTrans" cxnId="{1CF5F1F6-E02F-492E-9F68-17109419A084}">
      <dgm:prSet/>
      <dgm:spPr/>
      <dgm:t>
        <a:bodyPr/>
        <a:lstStyle/>
        <a:p>
          <a:endParaRPr lang="de-DE"/>
        </a:p>
      </dgm:t>
    </dgm:pt>
    <dgm:pt modelId="{001C2537-AB1D-4E3C-9ACD-7E4F7920B8B2}" type="parTrans" cxnId="{1CF5F1F6-E02F-492E-9F68-17109419A084}">
      <dgm:prSet/>
      <dgm:spPr/>
      <dgm:t>
        <a:bodyPr/>
        <a:lstStyle/>
        <a:p>
          <a:endParaRPr lang="de-DE"/>
        </a:p>
      </dgm:t>
    </dgm:pt>
    <dgm:pt modelId="{D932A4D9-7A25-4D5F-BBD2-80C1CF317DED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Price Lists</a:t>
          </a:r>
        </a:p>
      </dgm:t>
    </dgm:pt>
    <dgm:pt modelId="{C671397D-AEB0-4DE8-8546-E1E69F1C2108}" type="sibTrans" cxnId="{F0D9817A-BBF7-42AF-B198-95F61717CE31}">
      <dgm:prSet/>
      <dgm:spPr/>
      <dgm:t>
        <a:bodyPr/>
        <a:lstStyle/>
        <a:p>
          <a:endParaRPr lang="de-DE"/>
        </a:p>
      </dgm:t>
    </dgm:pt>
    <dgm:pt modelId="{642C5428-63E4-4BFC-8D79-F36EE3BCD208}" type="parTrans" cxnId="{F0D9817A-BBF7-42AF-B198-95F61717CE31}">
      <dgm:prSet/>
      <dgm:spPr/>
      <dgm:t>
        <a:bodyPr/>
        <a:lstStyle/>
        <a:p>
          <a:endParaRPr lang="de-DE"/>
        </a:p>
      </dgm:t>
    </dgm:pt>
    <dgm:pt modelId="{D3D9F0D2-84EB-41EB-8BD6-BC48444A8416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Online </a:t>
          </a:r>
          <a:r>
            <a:rPr lang="de-DE" dirty="0" err="1"/>
            <a:t>Configurator</a:t>
          </a:r>
          <a:endParaRPr lang="de-DE" dirty="0"/>
        </a:p>
      </dgm:t>
    </dgm:pt>
    <dgm:pt modelId="{07CC5439-B02C-4F73-B455-2BDA24E390BD}" type="parTrans" cxnId="{84D533EF-3EBF-48E2-989F-87DA39C579CB}">
      <dgm:prSet/>
      <dgm:spPr/>
      <dgm:t>
        <a:bodyPr/>
        <a:lstStyle/>
        <a:p>
          <a:endParaRPr lang="de-DE"/>
        </a:p>
      </dgm:t>
    </dgm:pt>
    <dgm:pt modelId="{2A721220-500E-4C7D-A091-56A7584BB8B6}" type="sibTrans" cxnId="{84D533EF-3EBF-48E2-989F-87DA39C579CB}">
      <dgm:prSet/>
      <dgm:spPr/>
      <dgm:t>
        <a:bodyPr/>
        <a:lstStyle/>
        <a:p>
          <a:endParaRPr lang="de-DE"/>
        </a:p>
      </dgm:t>
    </dgm:pt>
    <dgm:pt modelId="{7A0D8ADC-DEF0-4537-9E41-BCE125B1A0E1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CQ Portal</a:t>
          </a:r>
        </a:p>
      </dgm:t>
    </dgm:pt>
    <dgm:pt modelId="{0538A195-724B-4711-B1C0-50314A1F359F}" type="parTrans" cxnId="{EEE5D4C1-C506-4535-99D4-5829824A65B0}">
      <dgm:prSet/>
      <dgm:spPr/>
      <dgm:t>
        <a:bodyPr/>
        <a:lstStyle/>
        <a:p>
          <a:endParaRPr lang="de-DE"/>
        </a:p>
      </dgm:t>
    </dgm:pt>
    <dgm:pt modelId="{C30F4C04-1C67-4FCD-B1D1-C812A957EEE5}" type="sibTrans" cxnId="{EEE5D4C1-C506-4535-99D4-5829824A65B0}">
      <dgm:prSet/>
      <dgm:spPr/>
      <dgm:t>
        <a:bodyPr/>
        <a:lstStyle/>
        <a:p>
          <a:endParaRPr lang="de-DE"/>
        </a:p>
      </dgm:t>
    </dgm:pt>
    <dgm:pt modelId="{32D97933-5B7F-4236-A18C-DD54C0F59C93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 err="1"/>
            <a:t>Application</a:t>
          </a:r>
          <a:r>
            <a:rPr lang="de-DE" dirty="0"/>
            <a:t> </a:t>
          </a:r>
          <a:r>
            <a:rPr lang="de-DE" dirty="0" err="1"/>
            <a:t>related</a:t>
          </a:r>
          <a:r>
            <a:rPr lang="de-DE" dirty="0"/>
            <a:t> </a:t>
          </a:r>
          <a:r>
            <a:rPr lang="de-DE" dirty="0" err="1"/>
            <a:t>Documents</a:t>
          </a:r>
          <a:endParaRPr lang="de-DE" dirty="0"/>
        </a:p>
      </dgm:t>
    </dgm:pt>
    <dgm:pt modelId="{F7065897-7276-4873-A139-B376004378ED}" type="parTrans" cxnId="{52EAAFF7-D42F-4C5E-976C-873A9F75963C}">
      <dgm:prSet/>
      <dgm:spPr/>
      <dgm:t>
        <a:bodyPr/>
        <a:lstStyle/>
        <a:p>
          <a:endParaRPr lang="de-DE"/>
        </a:p>
      </dgm:t>
    </dgm:pt>
    <dgm:pt modelId="{B8AA200A-A758-4E40-AECA-6E05C0F96E73}" type="sibTrans" cxnId="{52EAAFF7-D42F-4C5E-976C-873A9F75963C}">
      <dgm:prSet/>
      <dgm:spPr/>
      <dgm:t>
        <a:bodyPr/>
        <a:lstStyle/>
        <a:p>
          <a:endParaRPr lang="de-DE"/>
        </a:p>
      </dgm:t>
    </dgm:pt>
    <dgm:pt modelId="{D25B5B33-E028-41D5-B3ED-7B610C9DD490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Project Portal</a:t>
          </a:r>
        </a:p>
      </dgm:t>
    </dgm:pt>
    <dgm:pt modelId="{64BAB936-AE6B-41E1-981C-C183CDCF6D92}" type="parTrans" cxnId="{8FE6646B-8E35-487A-8C6C-711D9B682F72}">
      <dgm:prSet/>
      <dgm:spPr/>
      <dgm:t>
        <a:bodyPr/>
        <a:lstStyle/>
        <a:p>
          <a:endParaRPr lang="de-DE"/>
        </a:p>
      </dgm:t>
    </dgm:pt>
    <dgm:pt modelId="{0C665AA5-25A5-49B8-9E2C-6B3B95895E0C}" type="sibTrans" cxnId="{8FE6646B-8E35-487A-8C6C-711D9B682F72}">
      <dgm:prSet/>
      <dgm:spPr/>
      <dgm:t>
        <a:bodyPr/>
        <a:lstStyle/>
        <a:p>
          <a:endParaRPr lang="de-DE"/>
        </a:p>
      </dgm:t>
    </dgm:pt>
    <dgm:pt modelId="{A1417C06-F8E5-43BE-B247-7736ACAB81F8}">
      <dgm:prSet phldrT="[Text]"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de-DE" dirty="0"/>
            <a:t>Interactive</a:t>
          </a:r>
        </a:p>
      </dgm:t>
    </dgm:pt>
    <dgm:pt modelId="{B16A8FA1-2DB8-4FF1-97E3-FA236B3122EB}" type="parTrans" cxnId="{EFFB9CD4-E6E4-4F7D-8870-2EF660C6CD25}">
      <dgm:prSet/>
      <dgm:spPr/>
      <dgm:t>
        <a:bodyPr/>
        <a:lstStyle/>
        <a:p>
          <a:endParaRPr lang="de-DE"/>
        </a:p>
      </dgm:t>
    </dgm:pt>
    <dgm:pt modelId="{FF26CC65-32FD-4040-9EB5-32A438E5DF42}" type="sibTrans" cxnId="{EFFB9CD4-E6E4-4F7D-8870-2EF660C6CD25}">
      <dgm:prSet/>
      <dgm:spPr/>
      <dgm:t>
        <a:bodyPr/>
        <a:lstStyle/>
        <a:p>
          <a:endParaRPr lang="de-DE"/>
        </a:p>
      </dgm:t>
    </dgm:pt>
    <dgm:pt modelId="{43D35050-088E-4D0B-9699-5965221D0E7F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Chat </a:t>
          </a:r>
          <a:r>
            <a:rPr lang="de-DE" dirty="0" err="1"/>
            <a:t>functionality</a:t>
          </a:r>
          <a:endParaRPr lang="de-DE" dirty="0"/>
        </a:p>
      </dgm:t>
    </dgm:pt>
    <dgm:pt modelId="{18154705-C62A-4CFB-9ADB-4CE5C0CA6396}" type="parTrans" cxnId="{23A76FBE-684D-41B6-A2DC-E587E72ECFFC}">
      <dgm:prSet/>
      <dgm:spPr/>
      <dgm:t>
        <a:bodyPr/>
        <a:lstStyle/>
        <a:p>
          <a:endParaRPr lang="de-DE"/>
        </a:p>
      </dgm:t>
    </dgm:pt>
    <dgm:pt modelId="{F61DA150-6B73-4F50-B7EC-0EFC9D1B67CC}" type="sibTrans" cxnId="{23A76FBE-684D-41B6-A2DC-E587E72ECFFC}">
      <dgm:prSet/>
      <dgm:spPr/>
      <dgm:t>
        <a:bodyPr/>
        <a:lstStyle/>
        <a:p>
          <a:endParaRPr lang="de-DE"/>
        </a:p>
      </dgm:t>
    </dgm:pt>
    <dgm:pt modelId="{3176B145-8200-4C22-B4F6-4E7BE063B312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Upload </a:t>
          </a:r>
          <a:r>
            <a:rPr lang="de-DE" dirty="0" err="1"/>
            <a:t>functionality</a:t>
          </a:r>
          <a:endParaRPr lang="de-DE" dirty="0"/>
        </a:p>
      </dgm:t>
    </dgm:pt>
    <dgm:pt modelId="{08CE0815-0F59-4A99-8765-79FC6354B7D5}" type="parTrans" cxnId="{952A312B-5DE9-4DD5-99C6-BC4B0164751B}">
      <dgm:prSet/>
      <dgm:spPr/>
      <dgm:t>
        <a:bodyPr/>
        <a:lstStyle/>
        <a:p>
          <a:endParaRPr lang="de-DE"/>
        </a:p>
      </dgm:t>
    </dgm:pt>
    <dgm:pt modelId="{062E1569-A658-4BF9-A8B5-655DAFE5F2C0}" type="sibTrans" cxnId="{952A312B-5DE9-4DD5-99C6-BC4B0164751B}">
      <dgm:prSet/>
      <dgm:spPr/>
      <dgm:t>
        <a:bodyPr/>
        <a:lstStyle/>
        <a:p>
          <a:endParaRPr lang="de-DE"/>
        </a:p>
      </dgm:t>
    </dgm:pt>
    <dgm:pt modelId="{94B969E8-2045-4D36-B61F-1DE9AD4E855B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/>
            <a:t>FAQ</a:t>
          </a:r>
        </a:p>
      </dgm:t>
    </dgm:pt>
    <dgm:pt modelId="{86D445E0-9929-4FC1-B305-0BCDA16AA819}" type="parTrans" cxnId="{0C5410D1-7F3D-416F-8EEC-A05EF12B8B28}">
      <dgm:prSet/>
      <dgm:spPr/>
      <dgm:t>
        <a:bodyPr/>
        <a:lstStyle/>
        <a:p>
          <a:endParaRPr lang="de-DE"/>
        </a:p>
      </dgm:t>
    </dgm:pt>
    <dgm:pt modelId="{146B9995-1F58-4615-AF72-79396FEB787D}" type="sibTrans" cxnId="{0C5410D1-7F3D-416F-8EEC-A05EF12B8B28}">
      <dgm:prSet/>
      <dgm:spPr/>
      <dgm:t>
        <a:bodyPr/>
        <a:lstStyle/>
        <a:p>
          <a:endParaRPr lang="de-DE"/>
        </a:p>
      </dgm:t>
    </dgm:pt>
    <dgm:pt modelId="{64A8890D-2221-4DC6-B0C5-D15885561A59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 err="1"/>
            <a:t>Advanced</a:t>
          </a:r>
          <a:r>
            <a:rPr lang="de-DE" dirty="0"/>
            <a:t> </a:t>
          </a:r>
          <a:r>
            <a:rPr lang="de-DE" dirty="0" err="1"/>
            <a:t>technical</a:t>
          </a:r>
          <a:r>
            <a:rPr lang="de-DE" dirty="0"/>
            <a:t> </a:t>
          </a:r>
          <a:r>
            <a:rPr lang="de-DE" dirty="0" err="1"/>
            <a:t>Documentation</a:t>
          </a:r>
          <a:endParaRPr lang="de-DE" dirty="0"/>
        </a:p>
      </dgm:t>
    </dgm:pt>
    <dgm:pt modelId="{34856B9E-B87B-4044-A39E-8B7F84DDD9E5}" type="parTrans" cxnId="{CF9921B6-F511-4638-A51B-57D695CFE045}">
      <dgm:prSet/>
      <dgm:spPr/>
      <dgm:t>
        <a:bodyPr/>
        <a:lstStyle/>
        <a:p>
          <a:endParaRPr lang="de-DE"/>
        </a:p>
      </dgm:t>
    </dgm:pt>
    <dgm:pt modelId="{3F622846-6BD3-4930-86E1-BC08503002E6}" type="sibTrans" cxnId="{CF9921B6-F511-4638-A51B-57D695CFE045}">
      <dgm:prSet/>
      <dgm:spPr/>
      <dgm:t>
        <a:bodyPr/>
        <a:lstStyle/>
        <a:p>
          <a:endParaRPr lang="de-DE"/>
        </a:p>
      </dgm:t>
    </dgm:pt>
    <dgm:pt modelId="{36B16877-A18A-482A-AB3B-170EC269D209}">
      <dgm:prSet phldrT="[Text]"/>
      <dgm:spPr>
        <a:solidFill>
          <a:schemeClr val="tx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de-DE" dirty="0" err="1"/>
            <a:t>Drawings</a:t>
          </a:r>
          <a:endParaRPr lang="de-DE" dirty="0"/>
        </a:p>
      </dgm:t>
    </dgm:pt>
    <dgm:pt modelId="{FD8B2DC5-BD33-4AD4-97AD-36FEFEEBB67A}" type="parTrans" cxnId="{68E9D57D-B44F-4F06-8B1F-7D4D8AE133CA}">
      <dgm:prSet/>
      <dgm:spPr/>
      <dgm:t>
        <a:bodyPr/>
        <a:lstStyle/>
        <a:p>
          <a:endParaRPr lang="de-DE"/>
        </a:p>
      </dgm:t>
    </dgm:pt>
    <dgm:pt modelId="{EC94DECF-FEA5-4A35-AA53-AF71789846CD}" type="sibTrans" cxnId="{68E9D57D-B44F-4F06-8B1F-7D4D8AE133CA}">
      <dgm:prSet/>
      <dgm:spPr/>
      <dgm:t>
        <a:bodyPr/>
        <a:lstStyle/>
        <a:p>
          <a:endParaRPr lang="de-DE"/>
        </a:p>
      </dgm:t>
    </dgm:pt>
    <dgm:pt modelId="{72A9C093-47EA-468E-8567-070E144FDDDB}" type="pres">
      <dgm:prSet presAssocID="{1F8D387B-3F7D-42DA-9FC4-E7F1D3AED25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45FEAC3-45C7-4E76-9486-6FF0B720C958}" type="pres">
      <dgm:prSet presAssocID="{4FB72500-C9DD-44F7-8B61-A91BD0FB94F1}" presName="root" presStyleCnt="0"/>
      <dgm:spPr/>
    </dgm:pt>
    <dgm:pt modelId="{5B162E97-ABEF-4862-9C97-117DB0CE0418}" type="pres">
      <dgm:prSet presAssocID="{4FB72500-C9DD-44F7-8B61-A91BD0FB94F1}" presName="rootComposite" presStyleCnt="0"/>
      <dgm:spPr/>
    </dgm:pt>
    <dgm:pt modelId="{BD426824-542A-4E07-BCED-0B05B3E31ECD}" type="pres">
      <dgm:prSet presAssocID="{4FB72500-C9DD-44F7-8B61-A91BD0FB94F1}" presName="rootText" presStyleLbl="node1" presStyleIdx="0" presStyleCnt="8"/>
      <dgm:spPr/>
    </dgm:pt>
    <dgm:pt modelId="{C8C8408E-39D7-4621-8B1D-80E544705C9B}" type="pres">
      <dgm:prSet presAssocID="{4FB72500-C9DD-44F7-8B61-A91BD0FB94F1}" presName="rootConnector" presStyleLbl="node1" presStyleIdx="0" presStyleCnt="8"/>
      <dgm:spPr/>
    </dgm:pt>
    <dgm:pt modelId="{3427C19C-E25C-4D31-BC61-B3EB00A87A8F}" type="pres">
      <dgm:prSet presAssocID="{4FB72500-C9DD-44F7-8B61-A91BD0FB94F1}" presName="childShape" presStyleCnt="0"/>
      <dgm:spPr/>
    </dgm:pt>
    <dgm:pt modelId="{CEF1999D-E343-4FE3-9C65-07E616C5CE3C}" type="pres">
      <dgm:prSet presAssocID="{699FF836-7FB5-45B9-96A6-1EA68119F90B}" presName="Name13" presStyleLbl="parChTrans1D2" presStyleIdx="0" presStyleCnt="30"/>
      <dgm:spPr/>
    </dgm:pt>
    <dgm:pt modelId="{4A65A428-8839-4F0B-BA93-E4819B54947D}" type="pres">
      <dgm:prSet presAssocID="{2E162297-A38F-4592-9BB6-5CB48DC1A046}" presName="childText" presStyleLbl="bgAcc1" presStyleIdx="0" presStyleCnt="30">
        <dgm:presLayoutVars>
          <dgm:bulletEnabled val="1"/>
        </dgm:presLayoutVars>
      </dgm:prSet>
      <dgm:spPr/>
    </dgm:pt>
    <dgm:pt modelId="{BAE9EA83-65C6-4558-881A-070E723CBEA7}" type="pres">
      <dgm:prSet presAssocID="{FAD2DAE3-62C7-4F4D-80EF-2CD70940B086}" presName="Name13" presStyleLbl="parChTrans1D2" presStyleIdx="1" presStyleCnt="30"/>
      <dgm:spPr/>
    </dgm:pt>
    <dgm:pt modelId="{C0FA6307-BC3F-41DF-9287-0901073ED665}" type="pres">
      <dgm:prSet presAssocID="{6603E8B1-B3E8-4C95-9E70-DE6F3446155C}" presName="childText" presStyleLbl="bgAcc1" presStyleIdx="1" presStyleCnt="30">
        <dgm:presLayoutVars>
          <dgm:bulletEnabled val="1"/>
        </dgm:presLayoutVars>
      </dgm:prSet>
      <dgm:spPr/>
    </dgm:pt>
    <dgm:pt modelId="{3D4EC6AF-11F0-4CB1-AE4D-372C9E661A9E}" type="pres">
      <dgm:prSet presAssocID="{F7065897-7276-4873-A139-B376004378ED}" presName="Name13" presStyleLbl="parChTrans1D2" presStyleIdx="2" presStyleCnt="30"/>
      <dgm:spPr/>
    </dgm:pt>
    <dgm:pt modelId="{FF7E4464-9914-41C0-9D2F-93E81C9200EF}" type="pres">
      <dgm:prSet presAssocID="{32D97933-5B7F-4236-A18C-DD54C0F59C93}" presName="childText" presStyleLbl="bgAcc1" presStyleIdx="2" presStyleCnt="30">
        <dgm:presLayoutVars>
          <dgm:bulletEnabled val="1"/>
        </dgm:presLayoutVars>
      </dgm:prSet>
      <dgm:spPr/>
    </dgm:pt>
    <dgm:pt modelId="{581652A7-2343-4664-95C7-5BFD14D42ADE}" type="pres">
      <dgm:prSet presAssocID="{34856B9E-B87B-4044-A39E-8B7F84DDD9E5}" presName="Name13" presStyleLbl="parChTrans1D2" presStyleIdx="3" presStyleCnt="30"/>
      <dgm:spPr/>
    </dgm:pt>
    <dgm:pt modelId="{2133E0BF-911C-4B4E-987B-93D6699A4295}" type="pres">
      <dgm:prSet presAssocID="{64A8890D-2221-4DC6-B0C5-D15885561A59}" presName="childText" presStyleLbl="bgAcc1" presStyleIdx="3" presStyleCnt="30">
        <dgm:presLayoutVars>
          <dgm:bulletEnabled val="1"/>
        </dgm:presLayoutVars>
      </dgm:prSet>
      <dgm:spPr/>
    </dgm:pt>
    <dgm:pt modelId="{F7774E84-49AF-4640-A298-45341DF03C1A}" type="pres">
      <dgm:prSet presAssocID="{FD8B2DC5-BD33-4AD4-97AD-36FEFEEBB67A}" presName="Name13" presStyleLbl="parChTrans1D2" presStyleIdx="4" presStyleCnt="30"/>
      <dgm:spPr/>
    </dgm:pt>
    <dgm:pt modelId="{A7E698E0-71E6-44B8-B23C-BF881225B08A}" type="pres">
      <dgm:prSet presAssocID="{36B16877-A18A-482A-AB3B-170EC269D209}" presName="childText" presStyleLbl="bgAcc1" presStyleIdx="4" presStyleCnt="30">
        <dgm:presLayoutVars>
          <dgm:bulletEnabled val="1"/>
        </dgm:presLayoutVars>
      </dgm:prSet>
      <dgm:spPr/>
    </dgm:pt>
    <dgm:pt modelId="{19158C7F-4DA4-4801-AC99-041B48C611BE}" type="pres">
      <dgm:prSet presAssocID="{1B804E7E-F481-40A0-BF11-71B2D39D308E}" presName="root" presStyleCnt="0"/>
      <dgm:spPr/>
    </dgm:pt>
    <dgm:pt modelId="{268AE910-E0A5-4C31-A66D-AABA8195DF7B}" type="pres">
      <dgm:prSet presAssocID="{1B804E7E-F481-40A0-BF11-71B2D39D308E}" presName="rootComposite" presStyleCnt="0"/>
      <dgm:spPr/>
    </dgm:pt>
    <dgm:pt modelId="{59018FC4-9A5A-4E6C-B52E-B4EFAB21EBA6}" type="pres">
      <dgm:prSet presAssocID="{1B804E7E-F481-40A0-BF11-71B2D39D308E}" presName="rootText" presStyleLbl="node1" presStyleIdx="1" presStyleCnt="8"/>
      <dgm:spPr/>
    </dgm:pt>
    <dgm:pt modelId="{AF25344B-68DE-40FB-BA81-C42CDD11F94B}" type="pres">
      <dgm:prSet presAssocID="{1B804E7E-F481-40A0-BF11-71B2D39D308E}" presName="rootConnector" presStyleLbl="node1" presStyleIdx="1" presStyleCnt="8"/>
      <dgm:spPr/>
    </dgm:pt>
    <dgm:pt modelId="{1F9703BF-1D4D-469F-8906-A8222129CAD9}" type="pres">
      <dgm:prSet presAssocID="{1B804E7E-F481-40A0-BF11-71B2D39D308E}" presName="childShape" presStyleCnt="0"/>
      <dgm:spPr/>
    </dgm:pt>
    <dgm:pt modelId="{3CCA42F4-62E6-4F93-AA6F-FE19E555F99B}" type="pres">
      <dgm:prSet presAssocID="{3350743F-5F66-42EB-A27F-690C525BDDA8}" presName="Name13" presStyleLbl="parChTrans1D2" presStyleIdx="5" presStyleCnt="30"/>
      <dgm:spPr/>
    </dgm:pt>
    <dgm:pt modelId="{25504B7A-83BB-4C61-B082-D85C9017D8EB}" type="pres">
      <dgm:prSet presAssocID="{B63B0503-B73F-4AF3-B379-74A66822F5F7}" presName="childText" presStyleLbl="bgAcc1" presStyleIdx="5" presStyleCnt="30">
        <dgm:presLayoutVars>
          <dgm:bulletEnabled val="1"/>
        </dgm:presLayoutVars>
      </dgm:prSet>
      <dgm:spPr/>
    </dgm:pt>
    <dgm:pt modelId="{FB4C5A0C-6098-4435-AC39-CDD86AAC6F1D}" type="pres">
      <dgm:prSet presAssocID="{9AE68E61-2CD1-4122-A3A1-8B4B43268271}" presName="Name13" presStyleLbl="parChTrans1D2" presStyleIdx="6" presStyleCnt="30"/>
      <dgm:spPr/>
    </dgm:pt>
    <dgm:pt modelId="{E427BAE4-8367-4B7D-8744-B036B785AEE4}" type="pres">
      <dgm:prSet presAssocID="{61DA79C7-0647-4699-A15A-8B7417A5FFA6}" presName="childText" presStyleLbl="bgAcc1" presStyleIdx="6" presStyleCnt="30">
        <dgm:presLayoutVars>
          <dgm:bulletEnabled val="1"/>
        </dgm:presLayoutVars>
      </dgm:prSet>
      <dgm:spPr/>
    </dgm:pt>
    <dgm:pt modelId="{368E7274-38EA-4999-9A10-8BD0660D5860}" type="pres">
      <dgm:prSet presAssocID="{D1317668-DF18-462C-9611-3A4A73ED838A}" presName="root" presStyleCnt="0"/>
      <dgm:spPr/>
    </dgm:pt>
    <dgm:pt modelId="{EB7D5ABD-AC8F-447E-8052-E4C0FEF0C2E3}" type="pres">
      <dgm:prSet presAssocID="{D1317668-DF18-462C-9611-3A4A73ED838A}" presName="rootComposite" presStyleCnt="0"/>
      <dgm:spPr/>
    </dgm:pt>
    <dgm:pt modelId="{D20454F3-A0A5-4600-9312-8F7F9CFEE41B}" type="pres">
      <dgm:prSet presAssocID="{D1317668-DF18-462C-9611-3A4A73ED838A}" presName="rootText" presStyleLbl="node1" presStyleIdx="2" presStyleCnt="8"/>
      <dgm:spPr/>
    </dgm:pt>
    <dgm:pt modelId="{59C9CBB7-215F-4E58-BE30-CB1F024D144E}" type="pres">
      <dgm:prSet presAssocID="{D1317668-DF18-462C-9611-3A4A73ED838A}" presName="rootConnector" presStyleLbl="node1" presStyleIdx="2" presStyleCnt="8"/>
      <dgm:spPr/>
    </dgm:pt>
    <dgm:pt modelId="{E24C93FE-FB43-46AC-BC65-863D9407692A}" type="pres">
      <dgm:prSet presAssocID="{D1317668-DF18-462C-9611-3A4A73ED838A}" presName="childShape" presStyleCnt="0"/>
      <dgm:spPr/>
    </dgm:pt>
    <dgm:pt modelId="{54DB872D-CB6A-45C9-BE2F-D25B4DF45581}" type="pres">
      <dgm:prSet presAssocID="{69498214-F2AF-449B-A903-C0FF24194CEA}" presName="Name13" presStyleLbl="parChTrans1D2" presStyleIdx="7" presStyleCnt="30"/>
      <dgm:spPr/>
    </dgm:pt>
    <dgm:pt modelId="{937789B2-A88C-44DD-9FCA-730D55B17FCC}" type="pres">
      <dgm:prSet presAssocID="{D91ED6B5-7400-4294-B8F9-E232B2B1A68A}" presName="childText" presStyleLbl="bgAcc1" presStyleIdx="7" presStyleCnt="30">
        <dgm:presLayoutVars>
          <dgm:bulletEnabled val="1"/>
        </dgm:presLayoutVars>
      </dgm:prSet>
      <dgm:spPr/>
    </dgm:pt>
    <dgm:pt modelId="{884C6D65-67E8-4D66-B087-C39EC38DE8C0}" type="pres">
      <dgm:prSet presAssocID="{36E8FB36-7532-4F2B-B4CE-BB1ACAE1D7E1}" presName="Name13" presStyleLbl="parChTrans1D2" presStyleIdx="8" presStyleCnt="30"/>
      <dgm:spPr/>
    </dgm:pt>
    <dgm:pt modelId="{E1D5E322-30FE-4008-AB7D-0A1F6D170B50}" type="pres">
      <dgm:prSet presAssocID="{138E9FFF-5527-4EFD-978F-CB4006125E88}" presName="childText" presStyleLbl="bgAcc1" presStyleIdx="8" presStyleCnt="30">
        <dgm:presLayoutVars>
          <dgm:bulletEnabled val="1"/>
        </dgm:presLayoutVars>
      </dgm:prSet>
      <dgm:spPr/>
    </dgm:pt>
    <dgm:pt modelId="{1A70A5B9-B91E-4E01-B4E4-B3E51BF76E99}" type="pres">
      <dgm:prSet presAssocID="{C6699554-D850-47D0-906C-5F019E77FD2E}" presName="Name13" presStyleLbl="parChTrans1D2" presStyleIdx="9" presStyleCnt="30"/>
      <dgm:spPr/>
    </dgm:pt>
    <dgm:pt modelId="{155822BA-C6B6-4D8F-A556-E00D87DCE559}" type="pres">
      <dgm:prSet presAssocID="{5EDE12E2-5F7B-4271-A384-A2F98E51A591}" presName="childText" presStyleLbl="bgAcc1" presStyleIdx="9" presStyleCnt="30">
        <dgm:presLayoutVars>
          <dgm:bulletEnabled val="1"/>
        </dgm:presLayoutVars>
      </dgm:prSet>
      <dgm:spPr/>
    </dgm:pt>
    <dgm:pt modelId="{8E1CDF58-78D4-4E7B-A3DF-1FF5DEE42F63}" type="pres">
      <dgm:prSet presAssocID="{9AECB401-F679-4FDB-8FBA-291E4E90DB0C}" presName="Name13" presStyleLbl="parChTrans1D2" presStyleIdx="10" presStyleCnt="30"/>
      <dgm:spPr/>
    </dgm:pt>
    <dgm:pt modelId="{B44BDB35-A7BB-42C7-9BDA-F1E462EDA021}" type="pres">
      <dgm:prSet presAssocID="{8B937B9C-33E2-40BE-92DC-DC0B66E418D1}" presName="childText" presStyleLbl="bgAcc1" presStyleIdx="10" presStyleCnt="30">
        <dgm:presLayoutVars>
          <dgm:bulletEnabled val="1"/>
        </dgm:presLayoutVars>
      </dgm:prSet>
      <dgm:spPr/>
    </dgm:pt>
    <dgm:pt modelId="{4D168F0E-1267-4075-8203-6DBBF40B1218}" type="pres">
      <dgm:prSet presAssocID="{31442DED-5D6A-4300-B799-805687BDD3E1}" presName="Name13" presStyleLbl="parChTrans1D2" presStyleIdx="11" presStyleCnt="30"/>
      <dgm:spPr/>
    </dgm:pt>
    <dgm:pt modelId="{E5D57686-1392-43F4-A052-0B7E463496DC}" type="pres">
      <dgm:prSet presAssocID="{60AA3967-2448-4675-BD04-BE21AF4134E7}" presName="childText" presStyleLbl="bgAcc1" presStyleIdx="11" presStyleCnt="30">
        <dgm:presLayoutVars>
          <dgm:bulletEnabled val="1"/>
        </dgm:presLayoutVars>
      </dgm:prSet>
      <dgm:spPr/>
    </dgm:pt>
    <dgm:pt modelId="{F3FC388A-EA66-48C3-B7E3-E08275991070}" type="pres">
      <dgm:prSet presAssocID="{6111499F-7E84-4FFD-997A-440D39CC9DA7}" presName="root" presStyleCnt="0"/>
      <dgm:spPr/>
    </dgm:pt>
    <dgm:pt modelId="{9135198B-BE6A-471E-95C3-E7269559E7D6}" type="pres">
      <dgm:prSet presAssocID="{6111499F-7E84-4FFD-997A-440D39CC9DA7}" presName="rootComposite" presStyleCnt="0"/>
      <dgm:spPr/>
    </dgm:pt>
    <dgm:pt modelId="{7300C64C-16B9-47B2-8D7E-37F64D9269B0}" type="pres">
      <dgm:prSet presAssocID="{6111499F-7E84-4FFD-997A-440D39CC9DA7}" presName="rootText" presStyleLbl="node1" presStyleIdx="3" presStyleCnt="8"/>
      <dgm:spPr/>
    </dgm:pt>
    <dgm:pt modelId="{8B6EE651-DC43-4E6E-A213-0C8319F650D9}" type="pres">
      <dgm:prSet presAssocID="{6111499F-7E84-4FFD-997A-440D39CC9DA7}" presName="rootConnector" presStyleLbl="node1" presStyleIdx="3" presStyleCnt="8"/>
      <dgm:spPr/>
    </dgm:pt>
    <dgm:pt modelId="{4AF793CB-71F1-46F3-B8FF-89B7B94A325F}" type="pres">
      <dgm:prSet presAssocID="{6111499F-7E84-4FFD-997A-440D39CC9DA7}" presName="childShape" presStyleCnt="0"/>
      <dgm:spPr/>
    </dgm:pt>
    <dgm:pt modelId="{FD916923-DBCC-49BA-B146-E40C02564F37}" type="pres">
      <dgm:prSet presAssocID="{1EEE846B-B061-4F7C-B525-6BA2752E730B}" presName="Name13" presStyleLbl="parChTrans1D2" presStyleIdx="12" presStyleCnt="30"/>
      <dgm:spPr/>
    </dgm:pt>
    <dgm:pt modelId="{51021D62-6218-4F6D-9551-F2AA19477C8E}" type="pres">
      <dgm:prSet presAssocID="{9150F9A4-0FCF-4B99-9AC8-C402BFB0E9DA}" presName="childText" presStyleLbl="bgAcc1" presStyleIdx="12" presStyleCnt="30">
        <dgm:presLayoutVars>
          <dgm:bulletEnabled val="1"/>
        </dgm:presLayoutVars>
      </dgm:prSet>
      <dgm:spPr/>
    </dgm:pt>
    <dgm:pt modelId="{04F6D4CE-720D-4D93-8FFF-D122E64C9257}" type="pres">
      <dgm:prSet presAssocID="{B116EC67-9210-4B3B-B7AC-2C27CD9587A1}" presName="Name13" presStyleLbl="parChTrans1D2" presStyleIdx="13" presStyleCnt="30"/>
      <dgm:spPr/>
    </dgm:pt>
    <dgm:pt modelId="{0D48B835-3524-4475-9E99-A63CB7A11A2F}" type="pres">
      <dgm:prSet presAssocID="{3C64D3B9-1627-4AB0-B988-083318F29FB1}" presName="childText" presStyleLbl="bgAcc1" presStyleIdx="13" presStyleCnt="30">
        <dgm:presLayoutVars>
          <dgm:bulletEnabled val="1"/>
        </dgm:presLayoutVars>
      </dgm:prSet>
      <dgm:spPr/>
    </dgm:pt>
    <dgm:pt modelId="{2B65ECE9-4F75-41BD-BB0E-0640E8B8FDB1}" type="pres">
      <dgm:prSet presAssocID="{A9263E27-AA6F-4B4B-83E0-4C55E049C1D1}" presName="Name13" presStyleLbl="parChTrans1D2" presStyleIdx="14" presStyleCnt="30"/>
      <dgm:spPr/>
    </dgm:pt>
    <dgm:pt modelId="{1393EC1C-667A-4A09-8E3D-06EF4269627A}" type="pres">
      <dgm:prSet presAssocID="{FB4EFE00-E7D2-4494-BDE8-64ECE97D61C5}" presName="childText" presStyleLbl="bgAcc1" presStyleIdx="14" presStyleCnt="30">
        <dgm:presLayoutVars>
          <dgm:bulletEnabled val="1"/>
        </dgm:presLayoutVars>
      </dgm:prSet>
      <dgm:spPr/>
    </dgm:pt>
    <dgm:pt modelId="{A5CEFCEB-84BD-49BB-928C-96D9A9868B4D}" type="pres">
      <dgm:prSet presAssocID="{DEB27C9C-0B95-41D5-94FB-2B1CF07EA543}" presName="Name13" presStyleLbl="parChTrans1D2" presStyleIdx="15" presStyleCnt="30"/>
      <dgm:spPr/>
    </dgm:pt>
    <dgm:pt modelId="{AA05A8F9-1A05-4D2D-A52D-045C5A995E47}" type="pres">
      <dgm:prSet presAssocID="{DFBB32F0-9282-46B6-A9E7-94AF86C08B33}" presName="childText" presStyleLbl="bgAcc1" presStyleIdx="15" presStyleCnt="30">
        <dgm:presLayoutVars>
          <dgm:bulletEnabled val="1"/>
        </dgm:presLayoutVars>
      </dgm:prSet>
      <dgm:spPr/>
    </dgm:pt>
    <dgm:pt modelId="{9A331C4E-0762-442A-919D-54782658F272}" type="pres">
      <dgm:prSet presAssocID="{5CAF40A1-9D11-44C3-8869-7B202CBC5480}" presName="root" presStyleCnt="0"/>
      <dgm:spPr/>
    </dgm:pt>
    <dgm:pt modelId="{2FB155A3-A125-4853-8DBB-3BD7D547FF6A}" type="pres">
      <dgm:prSet presAssocID="{5CAF40A1-9D11-44C3-8869-7B202CBC5480}" presName="rootComposite" presStyleCnt="0"/>
      <dgm:spPr/>
    </dgm:pt>
    <dgm:pt modelId="{6C2F269C-1D58-43B3-809E-2CFEAA7E9BD3}" type="pres">
      <dgm:prSet presAssocID="{5CAF40A1-9D11-44C3-8869-7B202CBC5480}" presName="rootText" presStyleLbl="node1" presStyleIdx="4" presStyleCnt="8"/>
      <dgm:spPr/>
    </dgm:pt>
    <dgm:pt modelId="{AD8C7C2F-C6B5-442A-96D9-9CB6FD626555}" type="pres">
      <dgm:prSet presAssocID="{5CAF40A1-9D11-44C3-8869-7B202CBC5480}" presName="rootConnector" presStyleLbl="node1" presStyleIdx="4" presStyleCnt="8"/>
      <dgm:spPr/>
    </dgm:pt>
    <dgm:pt modelId="{07DA1F54-3ADC-43C3-BE5D-FA02BC7CB336}" type="pres">
      <dgm:prSet presAssocID="{5CAF40A1-9D11-44C3-8869-7B202CBC5480}" presName="childShape" presStyleCnt="0"/>
      <dgm:spPr/>
    </dgm:pt>
    <dgm:pt modelId="{E76E11A1-8172-46D3-B052-5389BC10C7BF}" type="pres">
      <dgm:prSet presAssocID="{77C4B35F-FEF5-4829-BCA1-4B624CC1C65E}" presName="Name13" presStyleLbl="parChTrans1D2" presStyleIdx="16" presStyleCnt="30"/>
      <dgm:spPr/>
    </dgm:pt>
    <dgm:pt modelId="{F9C0960A-8290-491A-9D3F-BF39642470CD}" type="pres">
      <dgm:prSet presAssocID="{4FA30A7B-F951-4603-BE13-88DC2414DC0B}" presName="childText" presStyleLbl="bgAcc1" presStyleIdx="16" presStyleCnt="30">
        <dgm:presLayoutVars>
          <dgm:bulletEnabled val="1"/>
        </dgm:presLayoutVars>
      </dgm:prSet>
      <dgm:spPr/>
    </dgm:pt>
    <dgm:pt modelId="{CFAF71D3-4039-4B6C-843C-66925103621A}" type="pres">
      <dgm:prSet presAssocID="{34215446-F3BE-49FE-9AE9-92629D3798C3}" presName="Name13" presStyleLbl="parChTrans1D2" presStyleIdx="17" presStyleCnt="30"/>
      <dgm:spPr/>
    </dgm:pt>
    <dgm:pt modelId="{3E2B8DE8-5F84-4CEB-B120-5E5CBD9CDF60}" type="pres">
      <dgm:prSet presAssocID="{56ED83B2-4117-448C-9CB7-C3AFED71ADD6}" presName="childText" presStyleLbl="bgAcc1" presStyleIdx="17" presStyleCnt="30">
        <dgm:presLayoutVars>
          <dgm:bulletEnabled val="1"/>
        </dgm:presLayoutVars>
      </dgm:prSet>
      <dgm:spPr/>
    </dgm:pt>
    <dgm:pt modelId="{53953E14-CD94-4C63-A85D-AD15E7E3733A}" type="pres">
      <dgm:prSet presAssocID="{821F4587-C8A6-4B0F-9102-5F57A1544F5C}" presName="Name13" presStyleLbl="parChTrans1D2" presStyleIdx="18" presStyleCnt="30"/>
      <dgm:spPr/>
    </dgm:pt>
    <dgm:pt modelId="{41307FB5-F254-42B6-B23D-B884E642CCAB}" type="pres">
      <dgm:prSet presAssocID="{CA19B2D5-330E-41A9-8E5C-2685C16443B1}" presName="childText" presStyleLbl="bgAcc1" presStyleIdx="18" presStyleCnt="30">
        <dgm:presLayoutVars>
          <dgm:bulletEnabled val="1"/>
        </dgm:presLayoutVars>
      </dgm:prSet>
      <dgm:spPr/>
    </dgm:pt>
    <dgm:pt modelId="{6DEEFA07-776A-4437-B002-9F26BBEA0FEA}" type="pres">
      <dgm:prSet presAssocID="{2D438D4B-2BE5-47A6-BE88-B978CD5FDD42}" presName="root" presStyleCnt="0"/>
      <dgm:spPr/>
    </dgm:pt>
    <dgm:pt modelId="{6E904152-C887-4E82-A83D-81F6263EF670}" type="pres">
      <dgm:prSet presAssocID="{2D438D4B-2BE5-47A6-BE88-B978CD5FDD42}" presName="rootComposite" presStyleCnt="0"/>
      <dgm:spPr/>
    </dgm:pt>
    <dgm:pt modelId="{A5671ED3-6E81-4938-99B9-01D06A6958C2}" type="pres">
      <dgm:prSet presAssocID="{2D438D4B-2BE5-47A6-BE88-B978CD5FDD42}" presName="rootText" presStyleLbl="node1" presStyleIdx="5" presStyleCnt="8"/>
      <dgm:spPr/>
    </dgm:pt>
    <dgm:pt modelId="{5E077A9F-9CB1-4258-8E4F-18B75CE0E549}" type="pres">
      <dgm:prSet presAssocID="{2D438D4B-2BE5-47A6-BE88-B978CD5FDD42}" presName="rootConnector" presStyleLbl="node1" presStyleIdx="5" presStyleCnt="8"/>
      <dgm:spPr/>
    </dgm:pt>
    <dgm:pt modelId="{61834EEF-27F4-4B70-A66F-65C9723A8990}" type="pres">
      <dgm:prSet presAssocID="{2D438D4B-2BE5-47A6-BE88-B978CD5FDD42}" presName="childShape" presStyleCnt="0"/>
      <dgm:spPr/>
    </dgm:pt>
    <dgm:pt modelId="{6AE11E5F-D8CC-499F-BADF-CFA8EB423C3E}" type="pres">
      <dgm:prSet presAssocID="{38B8B32E-7FD1-41D2-A086-E1852F34C7F7}" presName="Name13" presStyleLbl="parChTrans1D2" presStyleIdx="19" presStyleCnt="30"/>
      <dgm:spPr/>
    </dgm:pt>
    <dgm:pt modelId="{7EB9F7E8-7B65-48FA-93E8-09F5E99AAD47}" type="pres">
      <dgm:prSet presAssocID="{5DF80E0A-257E-4BFB-B306-26FA9F849725}" presName="childText" presStyleLbl="bgAcc1" presStyleIdx="19" presStyleCnt="30">
        <dgm:presLayoutVars>
          <dgm:bulletEnabled val="1"/>
        </dgm:presLayoutVars>
      </dgm:prSet>
      <dgm:spPr/>
    </dgm:pt>
    <dgm:pt modelId="{8785D3B8-0E44-478E-A412-81B9BD2F5399}" type="pres">
      <dgm:prSet presAssocID="{CF2B541D-3593-413C-8D60-13F055CFDFB8}" presName="Name13" presStyleLbl="parChTrans1D2" presStyleIdx="20" presStyleCnt="30"/>
      <dgm:spPr/>
    </dgm:pt>
    <dgm:pt modelId="{ECFF2E2D-70C6-4723-813D-CCDE7B60B40F}" type="pres">
      <dgm:prSet presAssocID="{8FE57A4B-4043-4D59-8434-14A2470C32EE}" presName="childText" presStyleLbl="bgAcc1" presStyleIdx="20" presStyleCnt="30">
        <dgm:presLayoutVars>
          <dgm:bulletEnabled val="1"/>
        </dgm:presLayoutVars>
      </dgm:prSet>
      <dgm:spPr/>
    </dgm:pt>
    <dgm:pt modelId="{B439AAE8-2A58-4901-BB70-E1EBACB4DE44}" type="pres">
      <dgm:prSet presAssocID="{F137BF39-9935-4364-B04A-2CFE491951EA}" presName="Name13" presStyleLbl="parChTrans1D2" presStyleIdx="21" presStyleCnt="30"/>
      <dgm:spPr/>
    </dgm:pt>
    <dgm:pt modelId="{2518FA55-4FE8-4EF0-97CC-99091235F253}" type="pres">
      <dgm:prSet presAssocID="{995E531B-F52F-48DA-965A-0D23EFAB8A09}" presName="childText" presStyleLbl="bgAcc1" presStyleIdx="21" presStyleCnt="30">
        <dgm:presLayoutVars>
          <dgm:bulletEnabled val="1"/>
        </dgm:presLayoutVars>
      </dgm:prSet>
      <dgm:spPr/>
    </dgm:pt>
    <dgm:pt modelId="{C337C2E8-FA5B-42EA-9BC0-E81FBD0462CC}" type="pres">
      <dgm:prSet presAssocID="{0538A195-724B-4711-B1C0-50314A1F359F}" presName="Name13" presStyleLbl="parChTrans1D2" presStyleIdx="22" presStyleCnt="30"/>
      <dgm:spPr/>
    </dgm:pt>
    <dgm:pt modelId="{17B27DC1-647F-490B-BEDD-5BAF8069CE2F}" type="pres">
      <dgm:prSet presAssocID="{7A0D8ADC-DEF0-4537-9E41-BCE125B1A0E1}" presName="childText" presStyleLbl="bgAcc1" presStyleIdx="22" presStyleCnt="30">
        <dgm:presLayoutVars>
          <dgm:bulletEnabled val="1"/>
        </dgm:presLayoutVars>
      </dgm:prSet>
      <dgm:spPr/>
    </dgm:pt>
    <dgm:pt modelId="{A1139331-373F-47FB-9080-607AF19B5BCE}" type="pres">
      <dgm:prSet presAssocID="{63EE9832-88BF-4F52-97AD-9DBB1FBD1CAA}" presName="root" presStyleCnt="0"/>
      <dgm:spPr/>
    </dgm:pt>
    <dgm:pt modelId="{E81485EF-C918-4228-B00C-2D668CA8FABA}" type="pres">
      <dgm:prSet presAssocID="{63EE9832-88BF-4F52-97AD-9DBB1FBD1CAA}" presName="rootComposite" presStyleCnt="0"/>
      <dgm:spPr/>
    </dgm:pt>
    <dgm:pt modelId="{4AB7A195-C06B-4E83-BC91-304D8E3126B6}" type="pres">
      <dgm:prSet presAssocID="{63EE9832-88BF-4F52-97AD-9DBB1FBD1CAA}" presName="rootText" presStyleLbl="node1" presStyleIdx="6" presStyleCnt="8"/>
      <dgm:spPr/>
    </dgm:pt>
    <dgm:pt modelId="{7027875D-DA78-493B-BCC8-7E7C4C1AA6A9}" type="pres">
      <dgm:prSet presAssocID="{63EE9832-88BF-4F52-97AD-9DBB1FBD1CAA}" presName="rootConnector" presStyleLbl="node1" presStyleIdx="6" presStyleCnt="8"/>
      <dgm:spPr/>
    </dgm:pt>
    <dgm:pt modelId="{86473A01-CFA0-45C6-933B-64A452584048}" type="pres">
      <dgm:prSet presAssocID="{63EE9832-88BF-4F52-97AD-9DBB1FBD1CAA}" presName="childShape" presStyleCnt="0"/>
      <dgm:spPr/>
    </dgm:pt>
    <dgm:pt modelId="{0BD3247C-9739-4C56-B7E7-C4C674F497CB}" type="pres">
      <dgm:prSet presAssocID="{642C5428-63E4-4BFC-8D79-F36EE3BCD208}" presName="Name13" presStyleLbl="parChTrans1D2" presStyleIdx="23" presStyleCnt="30"/>
      <dgm:spPr/>
    </dgm:pt>
    <dgm:pt modelId="{D84527AF-3AC7-4130-9A43-4712CD951998}" type="pres">
      <dgm:prSet presAssocID="{D932A4D9-7A25-4D5F-BBD2-80C1CF317DED}" presName="childText" presStyleLbl="bgAcc1" presStyleIdx="23" presStyleCnt="30">
        <dgm:presLayoutVars>
          <dgm:bulletEnabled val="1"/>
        </dgm:presLayoutVars>
      </dgm:prSet>
      <dgm:spPr/>
    </dgm:pt>
    <dgm:pt modelId="{3E2F638B-54BA-4BC2-8B22-5774A1958785}" type="pres">
      <dgm:prSet presAssocID="{001C2537-AB1D-4E3C-9ACD-7E4F7920B8B2}" presName="Name13" presStyleLbl="parChTrans1D2" presStyleIdx="24" presStyleCnt="30"/>
      <dgm:spPr/>
    </dgm:pt>
    <dgm:pt modelId="{92211C69-1374-4E99-97DE-686D7308FB98}" type="pres">
      <dgm:prSet presAssocID="{96F651DD-A2AB-40E9-BD8D-A69C61A3AE58}" presName="childText" presStyleLbl="bgAcc1" presStyleIdx="24" presStyleCnt="30">
        <dgm:presLayoutVars>
          <dgm:bulletEnabled val="1"/>
        </dgm:presLayoutVars>
      </dgm:prSet>
      <dgm:spPr/>
    </dgm:pt>
    <dgm:pt modelId="{C67BADCF-CEF9-4440-9483-02736AC2D5C3}" type="pres">
      <dgm:prSet presAssocID="{07CC5439-B02C-4F73-B455-2BDA24E390BD}" presName="Name13" presStyleLbl="parChTrans1D2" presStyleIdx="25" presStyleCnt="30"/>
      <dgm:spPr/>
    </dgm:pt>
    <dgm:pt modelId="{F71F0C82-96C2-4DCC-9451-88F6A39B564C}" type="pres">
      <dgm:prSet presAssocID="{D3D9F0D2-84EB-41EB-8BD6-BC48444A8416}" presName="childText" presStyleLbl="bgAcc1" presStyleIdx="25" presStyleCnt="30">
        <dgm:presLayoutVars>
          <dgm:bulletEnabled val="1"/>
        </dgm:presLayoutVars>
      </dgm:prSet>
      <dgm:spPr/>
    </dgm:pt>
    <dgm:pt modelId="{7E32E45C-FC96-44E8-9FAF-7F4985CD6E13}" type="pres">
      <dgm:prSet presAssocID="{64BAB936-AE6B-41E1-981C-C183CDCF6D92}" presName="Name13" presStyleLbl="parChTrans1D2" presStyleIdx="26" presStyleCnt="30"/>
      <dgm:spPr/>
    </dgm:pt>
    <dgm:pt modelId="{A78CCD41-9FE2-41F7-A5D5-10799C80E96A}" type="pres">
      <dgm:prSet presAssocID="{D25B5B33-E028-41D5-B3ED-7B610C9DD490}" presName="childText" presStyleLbl="bgAcc1" presStyleIdx="26" presStyleCnt="30">
        <dgm:presLayoutVars>
          <dgm:bulletEnabled val="1"/>
        </dgm:presLayoutVars>
      </dgm:prSet>
      <dgm:spPr/>
    </dgm:pt>
    <dgm:pt modelId="{3EAFFC4B-8FFF-42BE-B767-725A7CA652D6}" type="pres">
      <dgm:prSet presAssocID="{A1417C06-F8E5-43BE-B247-7736ACAB81F8}" presName="root" presStyleCnt="0"/>
      <dgm:spPr/>
    </dgm:pt>
    <dgm:pt modelId="{55BB5E56-EA54-4C58-B9C8-BC1A5188C981}" type="pres">
      <dgm:prSet presAssocID="{A1417C06-F8E5-43BE-B247-7736ACAB81F8}" presName="rootComposite" presStyleCnt="0"/>
      <dgm:spPr/>
    </dgm:pt>
    <dgm:pt modelId="{EA3AEDA8-8142-46BB-A8FB-5D1150377BE2}" type="pres">
      <dgm:prSet presAssocID="{A1417C06-F8E5-43BE-B247-7736ACAB81F8}" presName="rootText" presStyleLbl="node1" presStyleIdx="7" presStyleCnt="8"/>
      <dgm:spPr/>
    </dgm:pt>
    <dgm:pt modelId="{1FFD47ED-44D6-46E8-9E5B-A59944D114B9}" type="pres">
      <dgm:prSet presAssocID="{A1417C06-F8E5-43BE-B247-7736ACAB81F8}" presName="rootConnector" presStyleLbl="node1" presStyleIdx="7" presStyleCnt="8"/>
      <dgm:spPr/>
    </dgm:pt>
    <dgm:pt modelId="{7DAF8928-B14B-4E31-B109-05C33E22419E}" type="pres">
      <dgm:prSet presAssocID="{A1417C06-F8E5-43BE-B247-7736ACAB81F8}" presName="childShape" presStyleCnt="0"/>
      <dgm:spPr/>
    </dgm:pt>
    <dgm:pt modelId="{3D620C62-350E-4C63-A2D9-6EC816040DFE}" type="pres">
      <dgm:prSet presAssocID="{86D445E0-9929-4FC1-B305-0BCDA16AA819}" presName="Name13" presStyleLbl="parChTrans1D2" presStyleIdx="27" presStyleCnt="30"/>
      <dgm:spPr/>
    </dgm:pt>
    <dgm:pt modelId="{1ACE3F81-9FB6-4F25-AA4B-F86FA2221457}" type="pres">
      <dgm:prSet presAssocID="{94B969E8-2045-4D36-B61F-1DE9AD4E855B}" presName="childText" presStyleLbl="bgAcc1" presStyleIdx="27" presStyleCnt="30">
        <dgm:presLayoutVars>
          <dgm:bulletEnabled val="1"/>
        </dgm:presLayoutVars>
      </dgm:prSet>
      <dgm:spPr/>
    </dgm:pt>
    <dgm:pt modelId="{3622730F-261A-4155-9899-5F7930C0B2B5}" type="pres">
      <dgm:prSet presAssocID="{18154705-C62A-4CFB-9ADB-4CE5C0CA6396}" presName="Name13" presStyleLbl="parChTrans1D2" presStyleIdx="28" presStyleCnt="30"/>
      <dgm:spPr/>
    </dgm:pt>
    <dgm:pt modelId="{88105C9A-6688-4206-AFF6-F96E9F823BA2}" type="pres">
      <dgm:prSet presAssocID="{43D35050-088E-4D0B-9699-5965221D0E7F}" presName="childText" presStyleLbl="bgAcc1" presStyleIdx="28" presStyleCnt="30">
        <dgm:presLayoutVars>
          <dgm:bulletEnabled val="1"/>
        </dgm:presLayoutVars>
      </dgm:prSet>
      <dgm:spPr/>
    </dgm:pt>
    <dgm:pt modelId="{615A8C88-0464-497A-9F93-30F00DE9E48B}" type="pres">
      <dgm:prSet presAssocID="{08CE0815-0F59-4A99-8765-79FC6354B7D5}" presName="Name13" presStyleLbl="parChTrans1D2" presStyleIdx="29" presStyleCnt="30"/>
      <dgm:spPr/>
    </dgm:pt>
    <dgm:pt modelId="{60E703EC-F3FD-46BD-9EE7-A9B55FBCACD6}" type="pres">
      <dgm:prSet presAssocID="{3176B145-8200-4C22-B4F6-4E7BE063B312}" presName="childText" presStyleLbl="bgAcc1" presStyleIdx="29" presStyleCnt="30">
        <dgm:presLayoutVars>
          <dgm:bulletEnabled val="1"/>
        </dgm:presLayoutVars>
      </dgm:prSet>
      <dgm:spPr/>
    </dgm:pt>
  </dgm:ptLst>
  <dgm:cxnLst>
    <dgm:cxn modelId="{7381C302-E7A5-4607-92F4-0AED76F4DC31}" type="presOf" srcId="{F137BF39-9935-4364-B04A-2CFE491951EA}" destId="{B439AAE8-2A58-4901-BB70-E1EBACB4DE44}" srcOrd="0" destOrd="0" presId="urn:microsoft.com/office/officeart/2005/8/layout/hierarchy3"/>
    <dgm:cxn modelId="{C7135106-0A05-4AB1-8B0F-40DCAE4235C7}" type="presOf" srcId="{32D97933-5B7F-4236-A18C-DD54C0F59C93}" destId="{FF7E4464-9914-41C0-9D2F-93E81C9200EF}" srcOrd="0" destOrd="0" presId="urn:microsoft.com/office/officeart/2005/8/layout/hierarchy3"/>
    <dgm:cxn modelId="{FF909A06-3FF8-4027-94C6-DA822B6260CF}" type="presOf" srcId="{43D35050-088E-4D0B-9699-5965221D0E7F}" destId="{88105C9A-6688-4206-AFF6-F96E9F823BA2}" srcOrd="0" destOrd="0" presId="urn:microsoft.com/office/officeart/2005/8/layout/hierarchy3"/>
    <dgm:cxn modelId="{CAC02008-D272-4C25-AE89-BEC3F3978A33}" type="presOf" srcId="{36B16877-A18A-482A-AB3B-170EC269D209}" destId="{A7E698E0-71E6-44B8-B23C-BF881225B08A}" srcOrd="0" destOrd="0" presId="urn:microsoft.com/office/officeart/2005/8/layout/hierarchy3"/>
    <dgm:cxn modelId="{AE0D3608-A91A-46FF-BD33-2391DCF1918A}" srcId="{1F8D387B-3F7D-42DA-9FC4-E7F1D3AED25D}" destId="{6111499F-7E84-4FFD-997A-440D39CC9DA7}" srcOrd="3" destOrd="0" parTransId="{71D38FEE-DCAF-4607-9AB3-9F10954121A1}" sibTransId="{22603663-75D8-4D1C-B078-D4B9175676D6}"/>
    <dgm:cxn modelId="{9DD76E0E-4CE1-4CC1-82AF-B3F179DED019}" type="presOf" srcId="{642C5428-63E4-4BFC-8D79-F36EE3BCD208}" destId="{0BD3247C-9739-4C56-B7E7-C4C674F497CB}" srcOrd="0" destOrd="0" presId="urn:microsoft.com/office/officeart/2005/8/layout/hierarchy3"/>
    <dgm:cxn modelId="{D0C4880F-5391-4BD4-9D99-DF1D84C80BE0}" type="presOf" srcId="{821F4587-C8A6-4B0F-9102-5F57A1544F5C}" destId="{53953E14-CD94-4C63-A85D-AD15E7E3733A}" srcOrd="0" destOrd="0" presId="urn:microsoft.com/office/officeart/2005/8/layout/hierarchy3"/>
    <dgm:cxn modelId="{E528B811-BFEE-45FC-BF64-C98350078E5C}" type="presOf" srcId="{07CC5439-B02C-4F73-B455-2BDA24E390BD}" destId="{C67BADCF-CEF9-4440-9483-02736AC2D5C3}" srcOrd="0" destOrd="0" presId="urn:microsoft.com/office/officeart/2005/8/layout/hierarchy3"/>
    <dgm:cxn modelId="{1A18F911-99D6-436B-BD60-22377CC451D4}" srcId="{5CAF40A1-9D11-44C3-8869-7B202CBC5480}" destId="{CA19B2D5-330E-41A9-8E5C-2685C16443B1}" srcOrd="2" destOrd="0" parTransId="{821F4587-C8A6-4B0F-9102-5F57A1544F5C}" sibTransId="{71A74BF1-D865-4A14-889F-91C63FC193DC}"/>
    <dgm:cxn modelId="{AF506016-34C0-4978-B630-272EF31C9E52}" type="presOf" srcId="{9AE68E61-2CD1-4122-A3A1-8B4B43268271}" destId="{FB4C5A0C-6098-4435-AC39-CDD86AAC6F1D}" srcOrd="0" destOrd="0" presId="urn:microsoft.com/office/officeart/2005/8/layout/hierarchy3"/>
    <dgm:cxn modelId="{D3DB6217-345F-42CF-B5F5-D2748AA72997}" srcId="{6111499F-7E84-4FFD-997A-440D39CC9DA7}" destId="{3C64D3B9-1627-4AB0-B988-083318F29FB1}" srcOrd="1" destOrd="0" parTransId="{B116EC67-9210-4B3B-B7AC-2C27CD9587A1}" sibTransId="{77AB999B-2D1B-4862-BAFD-9DF5A55ECB1C}"/>
    <dgm:cxn modelId="{9780D91A-FE87-415B-B12D-0D25C56EF814}" type="presOf" srcId="{699FF836-7FB5-45B9-96A6-1EA68119F90B}" destId="{CEF1999D-E343-4FE3-9C65-07E616C5CE3C}" srcOrd="0" destOrd="0" presId="urn:microsoft.com/office/officeart/2005/8/layout/hierarchy3"/>
    <dgm:cxn modelId="{FCDBB621-4DE1-474A-8B03-00C29D26744C}" type="presOf" srcId="{18154705-C62A-4CFB-9ADB-4CE5C0CA6396}" destId="{3622730F-261A-4155-9899-5F7930C0B2B5}" srcOrd="0" destOrd="0" presId="urn:microsoft.com/office/officeart/2005/8/layout/hierarchy3"/>
    <dgm:cxn modelId="{0A302D22-0EF8-46B0-90E5-98F1D0E94D7A}" srcId="{D1317668-DF18-462C-9611-3A4A73ED838A}" destId="{60AA3967-2448-4675-BD04-BE21AF4134E7}" srcOrd="4" destOrd="0" parTransId="{31442DED-5D6A-4300-B799-805687BDD3E1}" sibTransId="{AB868FC1-3ED6-4A15-9FEA-E81573F0439F}"/>
    <dgm:cxn modelId="{932EBA26-0EE8-4A8A-9EF9-14A9476D2206}" type="presOf" srcId="{38B8B32E-7FD1-41D2-A086-E1852F34C7F7}" destId="{6AE11E5F-D8CC-499F-BADF-CFA8EB423C3E}" srcOrd="0" destOrd="0" presId="urn:microsoft.com/office/officeart/2005/8/layout/hierarchy3"/>
    <dgm:cxn modelId="{5B4AA427-BACA-417E-8A55-082441C439A2}" type="presOf" srcId="{FAD2DAE3-62C7-4F4D-80EF-2CD70940B086}" destId="{BAE9EA83-65C6-4558-881A-070E723CBEA7}" srcOrd="0" destOrd="0" presId="urn:microsoft.com/office/officeart/2005/8/layout/hierarchy3"/>
    <dgm:cxn modelId="{51B92C2A-C832-4BB9-8590-68FF55E589CC}" srcId="{D1317668-DF18-462C-9611-3A4A73ED838A}" destId="{D91ED6B5-7400-4294-B8F9-E232B2B1A68A}" srcOrd="0" destOrd="0" parTransId="{69498214-F2AF-449B-A903-C0FF24194CEA}" sibTransId="{B3C3329E-5142-4BD4-B7A2-799AE189602C}"/>
    <dgm:cxn modelId="{952A312B-5DE9-4DD5-99C6-BC4B0164751B}" srcId="{A1417C06-F8E5-43BE-B247-7736ACAB81F8}" destId="{3176B145-8200-4C22-B4F6-4E7BE063B312}" srcOrd="2" destOrd="0" parTransId="{08CE0815-0F59-4A99-8765-79FC6354B7D5}" sibTransId="{062E1569-A658-4BF9-A8B5-655DAFE5F2C0}"/>
    <dgm:cxn modelId="{C4D6682F-2934-4601-B90C-E30215B82DD1}" type="presOf" srcId="{A9263E27-AA6F-4B4B-83E0-4C55E049C1D1}" destId="{2B65ECE9-4F75-41BD-BB0E-0640E8B8FDB1}" srcOrd="0" destOrd="0" presId="urn:microsoft.com/office/officeart/2005/8/layout/hierarchy3"/>
    <dgm:cxn modelId="{7FB49531-8035-4E06-910B-3ABFB6DBECEC}" type="presOf" srcId="{0538A195-724B-4711-B1C0-50314A1F359F}" destId="{C337C2E8-FA5B-42EA-9BC0-E81FBD0462CC}" srcOrd="0" destOrd="0" presId="urn:microsoft.com/office/officeart/2005/8/layout/hierarchy3"/>
    <dgm:cxn modelId="{37F74733-2FD8-43D2-B593-EA24A4117828}" type="presOf" srcId="{D3D9F0D2-84EB-41EB-8BD6-BC48444A8416}" destId="{F71F0C82-96C2-4DCC-9451-88F6A39B564C}" srcOrd="0" destOrd="0" presId="urn:microsoft.com/office/officeart/2005/8/layout/hierarchy3"/>
    <dgm:cxn modelId="{44A88734-4C06-494A-B706-8E33AB4D6F29}" type="presOf" srcId="{CA19B2D5-330E-41A9-8E5C-2685C16443B1}" destId="{41307FB5-F254-42B6-B23D-B884E642CCAB}" srcOrd="0" destOrd="0" presId="urn:microsoft.com/office/officeart/2005/8/layout/hierarchy3"/>
    <dgm:cxn modelId="{D7D32D5B-957A-414C-8B3B-0525EC70B06F}" type="presOf" srcId="{FD8B2DC5-BD33-4AD4-97AD-36FEFEEBB67A}" destId="{F7774E84-49AF-4640-A298-45341DF03C1A}" srcOrd="0" destOrd="0" presId="urn:microsoft.com/office/officeart/2005/8/layout/hierarchy3"/>
    <dgm:cxn modelId="{1646565F-171E-4E62-8AFB-191884E6FC1F}" srcId="{1F8D387B-3F7D-42DA-9FC4-E7F1D3AED25D}" destId="{63EE9832-88BF-4F52-97AD-9DBB1FBD1CAA}" srcOrd="6" destOrd="0" parTransId="{533E0161-BD8F-4C07-985B-7267DF0BF9AC}" sibTransId="{CB842D97-E6A9-4088-81BD-8F3433000EC5}"/>
    <dgm:cxn modelId="{6CBD1662-4A64-4EAF-B2D5-44D0A5A48C42}" srcId="{D1317668-DF18-462C-9611-3A4A73ED838A}" destId="{5EDE12E2-5F7B-4271-A384-A2F98E51A591}" srcOrd="2" destOrd="0" parTransId="{C6699554-D850-47D0-906C-5F019E77FD2E}" sibTransId="{494BFB69-B8BA-4E01-8D0C-23C0E1604D63}"/>
    <dgm:cxn modelId="{ED3BE043-BCAF-4187-BF03-1A7BE3658E62}" type="presOf" srcId="{64A8890D-2221-4DC6-B0C5-D15885561A59}" destId="{2133E0BF-911C-4B4E-987B-93D6699A4295}" srcOrd="0" destOrd="0" presId="urn:microsoft.com/office/officeart/2005/8/layout/hierarchy3"/>
    <dgm:cxn modelId="{402ED644-2EA7-4047-ADCB-D5B881D03D6E}" srcId="{4FB72500-C9DD-44F7-8B61-A91BD0FB94F1}" destId="{2E162297-A38F-4592-9BB6-5CB48DC1A046}" srcOrd="0" destOrd="0" parTransId="{699FF836-7FB5-45B9-96A6-1EA68119F90B}" sibTransId="{1B0A0146-C3BC-4239-A764-0C2A1ADCAA43}"/>
    <dgm:cxn modelId="{BAE2DB64-E2FA-47DF-9E49-943B97C8B539}" type="presOf" srcId="{1F8D387B-3F7D-42DA-9FC4-E7F1D3AED25D}" destId="{72A9C093-47EA-468E-8567-070E144FDDDB}" srcOrd="0" destOrd="0" presId="urn:microsoft.com/office/officeart/2005/8/layout/hierarchy3"/>
    <dgm:cxn modelId="{723A5C65-188B-48C3-B5E1-676A2A973E50}" srcId="{1F8D387B-3F7D-42DA-9FC4-E7F1D3AED25D}" destId="{1B804E7E-F481-40A0-BF11-71B2D39D308E}" srcOrd="1" destOrd="0" parTransId="{C5B0C47C-8A54-49BB-9723-3C38D2B242EB}" sibTransId="{7A3EF9AF-1C3D-41D4-A7BC-F74D2AB02F81}"/>
    <dgm:cxn modelId="{697C5365-1ED6-4CA1-8774-33EAB28A5F9B}" srcId="{1B804E7E-F481-40A0-BF11-71B2D39D308E}" destId="{61DA79C7-0647-4699-A15A-8B7417A5FFA6}" srcOrd="1" destOrd="0" parTransId="{9AE68E61-2CD1-4122-A3A1-8B4B43268271}" sibTransId="{45F98FCE-06C8-4410-9236-145D89FA295F}"/>
    <dgm:cxn modelId="{C2267645-CF32-498F-AFED-5F432A51BDFF}" type="presOf" srcId="{61DA79C7-0647-4699-A15A-8B7417A5FFA6}" destId="{E427BAE4-8367-4B7D-8744-B036B785AEE4}" srcOrd="0" destOrd="0" presId="urn:microsoft.com/office/officeart/2005/8/layout/hierarchy3"/>
    <dgm:cxn modelId="{9DE7BA65-32D4-4EF9-AF0B-DDD7632CE2AE}" type="presOf" srcId="{5CAF40A1-9D11-44C3-8869-7B202CBC5480}" destId="{6C2F269C-1D58-43B3-809E-2CFEAA7E9BD3}" srcOrd="0" destOrd="0" presId="urn:microsoft.com/office/officeart/2005/8/layout/hierarchy3"/>
    <dgm:cxn modelId="{06046166-D104-43FB-91D5-5D7494F83197}" type="presOf" srcId="{86D445E0-9929-4FC1-B305-0BCDA16AA819}" destId="{3D620C62-350E-4C63-A2D9-6EC816040DFE}" srcOrd="0" destOrd="0" presId="urn:microsoft.com/office/officeart/2005/8/layout/hierarchy3"/>
    <dgm:cxn modelId="{B68B864A-A8B6-42AC-8B3D-53100550FEE3}" type="presOf" srcId="{9150F9A4-0FCF-4B99-9AC8-C402BFB0E9DA}" destId="{51021D62-6218-4F6D-9551-F2AA19477C8E}" srcOrd="0" destOrd="0" presId="urn:microsoft.com/office/officeart/2005/8/layout/hierarchy3"/>
    <dgm:cxn modelId="{8FE6646B-8E35-487A-8C6C-711D9B682F72}" srcId="{63EE9832-88BF-4F52-97AD-9DBB1FBD1CAA}" destId="{D25B5B33-E028-41D5-B3ED-7B610C9DD490}" srcOrd="3" destOrd="0" parTransId="{64BAB936-AE6B-41E1-981C-C183CDCF6D92}" sibTransId="{0C665AA5-25A5-49B8-9E2C-6B3B95895E0C}"/>
    <dgm:cxn modelId="{B736C34C-609E-4756-8D62-143B1F294DEF}" srcId="{1F8D387B-3F7D-42DA-9FC4-E7F1D3AED25D}" destId="{D1317668-DF18-462C-9611-3A4A73ED838A}" srcOrd="2" destOrd="0" parTransId="{62A5E1B1-3954-4AD2-88AC-A4543595AA69}" sibTransId="{8F61AE96-CE9F-4C7C-B131-357A634326F2}"/>
    <dgm:cxn modelId="{586E596D-93CD-4C87-A28A-625D0A71CE37}" srcId="{2D438D4B-2BE5-47A6-BE88-B978CD5FDD42}" destId="{8FE57A4B-4043-4D59-8434-14A2470C32EE}" srcOrd="1" destOrd="0" parTransId="{CF2B541D-3593-413C-8D60-13F055CFDFB8}" sibTransId="{8DBD9FF9-72CB-4BB7-904E-1C12C888E667}"/>
    <dgm:cxn modelId="{FCBB7C6D-314B-449C-950F-5DA578963A96}" srcId="{2D438D4B-2BE5-47A6-BE88-B978CD5FDD42}" destId="{995E531B-F52F-48DA-965A-0D23EFAB8A09}" srcOrd="2" destOrd="0" parTransId="{F137BF39-9935-4364-B04A-2CFE491951EA}" sibTransId="{8D5B314B-CD9A-427B-B46A-473AC3D0559F}"/>
    <dgm:cxn modelId="{A9B6AD4E-6D7A-4454-B352-91C247CB7D66}" type="presOf" srcId="{1B804E7E-F481-40A0-BF11-71B2D39D308E}" destId="{AF25344B-68DE-40FB-BA81-C42CDD11F94B}" srcOrd="1" destOrd="0" presId="urn:microsoft.com/office/officeart/2005/8/layout/hierarchy3"/>
    <dgm:cxn modelId="{C30D954F-B275-4A74-B5E8-7B6E4799EC3E}" srcId="{6111499F-7E84-4FFD-997A-440D39CC9DA7}" destId="{9150F9A4-0FCF-4B99-9AC8-C402BFB0E9DA}" srcOrd="0" destOrd="0" parTransId="{1EEE846B-B061-4F7C-B525-6BA2752E730B}" sibTransId="{F1418533-2BBA-49EF-9F22-71B50732D200}"/>
    <dgm:cxn modelId="{60C03750-DE46-41F1-9B52-A6CFE826EFAA}" type="presOf" srcId="{34856B9E-B87B-4044-A39E-8B7F84DDD9E5}" destId="{581652A7-2343-4664-95C7-5BFD14D42ADE}" srcOrd="0" destOrd="0" presId="urn:microsoft.com/office/officeart/2005/8/layout/hierarchy3"/>
    <dgm:cxn modelId="{554ACF70-DEAD-484E-8706-26543C1D8587}" type="presOf" srcId="{A1417C06-F8E5-43BE-B247-7736ACAB81F8}" destId="{1FFD47ED-44D6-46E8-9E5B-A59944D114B9}" srcOrd="1" destOrd="0" presId="urn:microsoft.com/office/officeart/2005/8/layout/hierarchy3"/>
    <dgm:cxn modelId="{77795E71-A969-46CE-8B96-463BF4775E39}" type="presOf" srcId="{60AA3967-2448-4675-BD04-BE21AF4134E7}" destId="{E5D57686-1392-43F4-A052-0B7E463496DC}" srcOrd="0" destOrd="0" presId="urn:microsoft.com/office/officeart/2005/8/layout/hierarchy3"/>
    <dgm:cxn modelId="{505FC272-E9A9-43F0-AC58-0EBDA5D1B725}" type="presOf" srcId="{D1317668-DF18-462C-9611-3A4A73ED838A}" destId="{D20454F3-A0A5-4600-9312-8F7F9CFEE41B}" srcOrd="0" destOrd="0" presId="urn:microsoft.com/office/officeart/2005/8/layout/hierarchy3"/>
    <dgm:cxn modelId="{79CFB273-7601-46CD-A0A2-116A25F28D44}" type="presOf" srcId="{63EE9832-88BF-4F52-97AD-9DBB1FBD1CAA}" destId="{7027875D-DA78-493B-BCC8-7E7C4C1AA6A9}" srcOrd="1" destOrd="0" presId="urn:microsoft.com/office/officeart/2005/8/layout/hierarchy3"/>
    <dgm:cxn modelId="{5F511C54-0257-426D-AC35-C429A2FA2A7C}" srcId="{1B804E7E-F481-40A0-BF11-71B2D39D308E}" destId="{B63B0503-B73F-4AF3-B379-74A66822F5F7}" srcOrd="0" destOrd="0" parTransId="{3350743F-5F66-42EB-A27F-690C525BDDA8}" sibTransId="{04040415-C522-4DB9-9112-11A00BF7B8A6}"/>
    <dgm:cxn modelId="{B84AC754-2D83-4B1D-9BC0-A59668D4FA71}" type="presOf" srcId="{1EEE846B-B061-4F7C-B525-6BA2752E730B}" destId="{FD916923-DBCC-49BA-B146-E40C02564F37}" srcOrd="0" destOrd="0" presId="urn:microsoft.com/office/officeart/2005/8/layout/hierarchy3"/>
    <dgm:cxn modelId="{C61ED674-13F6-4703-B289-98C8AF768BA7}" type="presOf" srcId="{7A0D8ADC-DEF0-4537-9E41-BCE125B1A0E1}" destId="{17B27DC1-647F-490B-BEDD-5BAF8069CE2F}" srcOrd="0" destOrd="0" presId="urn:microsoft.com/office/officeart/2005/8/layout/hierarchy3"/>
    <dgm:cxn modelId="{98B25D55-7592-4D72-A721-5FAA0630FE8B}" type="presOf" srcId="{B116EC67-9210-4B3B-B7AC-2C27CD9587A1}" destId="{04F6D4CE-720D-4D93-8FFF-D122E64C9257}" srcOrd="0" destOrd="0" presId="urn:microsoft.com/office/officeart/2005/8/layout/hierarchy3"/>
    <dgm:cxn modelId="{314E8956-22A3-4D40-929D-0A775A2215C7}" type="presOf" srcId="{3176B145-8200-4C22-B4F6-4E7BE063B312}" destId="{60E703EC-F3FD-46BD-9EE7-A9B55FBCACD6}" srcOrd="0" destOrd="0" presId="urn:microsoft.com/office/officeart/2005/8/layout/hierarchy3"/>
    <dgm:cxn modelId="{1214CD79-4A20-4ED1-BEDC-87A7EBD58D73}" srcId="{5CAF40A1-9D11-44C3-8869-7B202CBC5480}" destId="{4FA30A7B-F951-4603-BE13-88DC2414DC0B}" srcOrd="0" destOrd="0" parTransId="{77C4B35F-FEF5-4829-BCA1-4B624CC1C65E}" sibTransId="{71352039-9FFA-4F60-BAEE-A8BBA9CAF188}"/>
    <dgm:cxn modelId="{F0D9817A-BBF7-42AF-B198-95F61717CE31}" srcId="{63EE9832-88BF-4F52-97AD-9DBB1FBD1CAA}" destId="{D932A4D9-7A25-4D5F-BBD2-80C1CF317DED}" srcOrd="0" destOrd="0" parTransId="{642C5428-63E4-4BFC-8D79-F36EE3BCD208}" sibTransId="{C671397D-AEB0-4DE8-8546-E1E69F1C2108}"/>
    <dgm:cxn modelId="{68E9D57D-B44F-4F06-8B1F-7D4D8AE133CA}" srcId="{4FB72500-C9DD-44F7-8B61-A91BD0FB94F1}" destId="{36B16877-A18A-482A-AB3B-170EC269D209}" srcOrd="4" destOrd="0" parTransId="{FD8B2DC5-BD33-4AD4-97AD-36FEFEEBB67A}" sibTransId="{EC94DECF-FEA5-4A35-AA53-AF71789846CD}"/>
    <dgm:cxn modelId="{781EB681-4CD8-425B-83D1-C0543FECA85E}" type="presOf" srcId="{77C4B35F-FEF5-4829-BCA1-4B624CC1C65E}" destId="{E76E11A1-8172-46D3-B052-5389BC10C7BF}" srcOrd="0" destOrd="0" presId="urn:microsoft.com/office/officeart/2005/8/layout/hierarchy3"/>
    <dgm:cxn modelId="{AE7C7785-EF88-43FC-9784-A1FFAAC9EA60}" type="presOf" srcId="{FB4EFE00-E7D2-4494-BDE8-64ECE97D61C5}" destId="{1393EC1C-667A-4A09-8E3D-06EF4269627A}" srcOrd="0" destOrd="0" presId="urn:microsoft.com/office/officeart/2005/8/layout/hierarchy3"/>
    <dgm:cxn modelId="{C0587886-FB7E-49D0-B86E-6D2D4FE82EB8}" type="presOf" srcId="{4FB72500-C9DD-44F7-8B61-A91BD0FB94F1}" destId="{BD426824-542A-4E07-BCED-0B05B3E31ECD}" srcOrd="0" destOrd="0" presId="urn:microsoft.com/office/officeart/2005/8/layout/hierarchy3"/>
    <dgm:cxn modelId="{D764F788-EF95-4B92-886F-100846DFB77E}" type="presOf" srcId="{4FB72500-C9DD-44F7-8B61-A91BD0FB94F1}" destId="{C8C8408E-39D7-4621-8B1D-80E544705C9B}" srcOrd="1" destOrd="0" presId="urn:microsoft.com/office/officeart/2005/8/layout/hierarchy3"/>
    <dgm:cxn modelId="{291B1F8B-6F66-4894-BE5B-E8687C44999B}" type="presOf" srcId="{5EDE12E2-5F7B-4271-A384-A2F98E51A591}" destId="{155822BA-C6B6-4D8F-A556-E00D87DCE559}" srcOrd="0" destOrd="0" presId="urn:microsoft.com/office/officeart/2005/8/layout/hierarchy3"/>
    <dgm:cxn modelId="{36AD0D90-53BB-4386-AD2F-BD84AB096EB7}" type="presOf" srcId="{D1317668-DF18-462C-9611-3A4A73ED838A}" destId="{59C9CBB7-215F-4E58-BE30-CB1F024D144E}" srcOrd="1" destOrd="0" presId="urn:microsoft.com/office/officeart/2005/8/layout/hierarchy3"/>
    <dgm:cxn modelId="{39147B91-45EB-49EC-B43D-A5FADE27D599}" type="presOf" srcId="{3C64D3B9-1627-4AB0-B988-083318F29FB1}" destId="{0D48B835-3524-4475-9E99-A63CB7A11A2F}" srcOrd="0" destOrd="0" presId="urn:microsoft.com/office/officeart/2005/8/layout/hierarchy3"/>
    <dgm:cxn modelId="{793DB099-CEE1-43B3-B89C-3C084D84D4E7}" type="presOf" srcId="{94B969E8-2045-4D36-B61F-1DE9AD4E855B}" destId="{1ACE3F81-9FB6-4F25-AA4B-F86FA2221457}" srcOrd="0" destOrd="0" presId="urn:microsoft.com/office/officeart/2005/8/layout/hierarchy3"/>
    <dgm:cxn modelId="{BC18D09B-5DBD-4BC8-BA6F-6544C902087E}" srcId="{5CAF40A1-9D11-44C3-8869-7B202CBC5480}" destId="{56ED83B2-4117-448C-9CB7-C3AFED71ADD6}" srcOrd="1" destOrd="0" parTransId="{34215446-F3BE-49FE-9AE9-92629D3798C3}" sibTransId="{D0CC4475-7C21-4092-BB4D-55E33701BF4D}"/>
    <dgm:cxn modelId="{D55A7DA0-8CE3-4767-B4A8-E05D4D3738D6}" type="presOf" srcId="{36E8FB36-7532-4F2B-B4CE-BB1ACAE1D7E1}" destId="{884C6D65-67E8-4D66-B087-C39EC38DE8C0}" srcOrd="0" destOrd="0" presId="urn:microsoft.com/office/officeart/2005/8/layout/hierarchy3"/>
    <dgm:cxn modelId="{7B88E2A6-EAA7-4B9D-BE4F-D7F0F0C8271F}" type="presOf" srcId="{8FE57A4B-4043-4D59-8434-14A2470C32EE}" destId="{ECFF2E2D-70C6-4723-813D-CCDE7B60B40F}" srcOrd="0" destOrd="0" presId="urn:microsoft.com/office/officeart/2005/8/layout/hierarchy3"/>
    <dgm:cxn modelId="{3B4749A8-60B0-434A-A4E0-848892677212}" type="presOf" srcId="{C6699554-D850-47D0-906C-5F019E77FD2E}" destId="{1A70A5B9-B91E-4E01-B4E4-B3E51BF76E99}" srcOrd="0" destOrd="0" presId="urn:microsoft.com/office/officeart/2005/8/layout/hierarchy3"/>
    <dgm:cxn modelId="{5A6273A9-2361-462B-AE5D-A468249835F0}" type="presOf" srcId="{DFBB32F0-9282-46B6-A9E7-94AF86C08B33}" destId="{AA05A8F9-1A05-4D2D-A52D-045C5A995E47}" srcOrd="0" destOrd="0" presId="urn:microsoft.com/office/officeart/2005/8/layout/hierarchy3"/>
    <dgm:cxn modelId="{27A88FAA-2C0D-4D8B-9C18-602688E2A63D}" srcId="{1F8D387B-3F7D-42DA-9FC4-E7F1D3AED25D}" destId="{4FB72500-C9DD-44F7-8B61-A91BD0FB94F1}" srcOrd="0" destOrd="0" parTransId="{B13166C6-5111-4430-B085-C7D0478D642B}" sibTransId="{6796AB45-DF63-4256-8463-9E2F4812FE5F}"/>
    <dgm:cxn modelId="{F1223FAB-96B5-44D4-BDD5-C61F8FF8BD57}" srcId="{1F8D387B-3F7D-42DA-9FC4-E7F1D3AED25D}" destId="{5CAF40A1-9D11-44C3-8869-7B202CBC5480}" srcOrd="4" destOrd="0" parTransId="{490ADDD9-A1B8-4CBE-AFAF-E81541EF245E}" sibTransId="{44F1534B-3F6F-4C0C-AAD3-D677E7DED2EA}"/>
    <dgm:cxn modelId="{558146AC-F6B6-4306-BF00-959F79E1F3E6}" type="presOf" srcId="{9AECB401-F679-4FDB-8FBA-291E4E90DB0C}" destId="{8E1CDF58-78D4-4E7B-A3DF-1FF5DEE42F63}" srcOrd="0" destOrd="0" presId="urn:microsoft.com/office/officeart/2005/8/layout/hierarchy3"/>
    <dgm:cxn modelId="{9F1FADAD-F25E-4D6B-8B58-A2DDCD71C075}" type="presOf" srcId="{5DF80E0A-257E-4BFB-B306-26FA9F849725}" destId="{7EB9F7E8-7B65-48FA-93E8-09F5E99AAD47}" srcOrd="0" destOrd="0" presId="urn:microsoft.com/office/officeart/2005/8/layout/hierarchy3"/>
    <dgm:cxn modelId="{6ADA34AE-E5C9-40D0-BD5A-4DF545BF3C2A}" type="presOf" srcId="{1B804E7E-F481-40A0-BF11-71B2D39D308E}" destId="{59018FC4-9A5A-4E6C-B52E-B4EFAB21EBA6}" srcOrd="0" destOrd="0" presId="urn:microsoft.com/office/officeart/2005/8/layout/hierarchy3"/>
    <dgm:cxn modelId="{617241AE-A027-4280-9C46-C0543AF42010}" type="presOf" srcId="{6111499F-7E84-4FFD-997A-440D39CC9DA7}" destId="{8B6EE651-DC43-4E6E-A213-0C8319F650D9}" srcOrd="1" destOrd="0" presId="urn:microsoft.com/office/officeart/2005/8/layout/hierarchy3"/>
    <dgm:cxn modelId="{0284E5AF-2D89-41E6-806F-09E6D93CBCCB}" type="presOf" srcId="{001C2537-AB1D-4E3C-9ACD-7E4F7920B8B2}" destId="{3E2F638B-54BA-4BC2-8B22-5774A1958785}" srcOrd="0" destOrd="0" presId="urn:microsoft.com/office/officeart/2005/8/layout/hierarchy3"/>
    <dgm:cxn modelId="{60B39AB0-88A0-4F00-B7EC-EF61C97FF6EC}" srcId="{6111499F-7E84-4FFD-997A-440D39CC9DA7}" destId="{FB4EFE00-E7D2-4494-BDE8-64ECE97D61C5}" srcOrd="2" destOrd="0" parTransId="{A9263E27-AA6F-4B4B-83E0-4C55E049C1D1}" sibTransId="{FAFE40BD-3AC1-4753-A782-EA58877B64B3}"/>
    <dgm:cxn modelId="{51714CB1-A3AC-43A3-A0C2-16D0E60BE185}" type="presOf" srcId="{CF2B541D-3593-413C-8D60-13F055CFDFB8}" destId="{8785D3B8-0E44-478E-A412-81B9BD2F5399}" srcOrd="0" destOrd="0" presId="urn:microsoft.com/office/officeart/2005/8/layout/hierarchy3"/>
    <dgm:cxn modelId="{CF9921B6-F511-4638-A51B-57D695CFE045}" srcId="{4FB72500-C9DD-44F7-8B61-A91BD0FB94F1}" destId="{64A8890D-2221-4DC6-B0C5-D15885561A59}" srcOrd="3" destOrd="0" parTransId="{34856B9E-B87B-4044-A39E-8B7F84DDD9E5}" sibTransId="{3F622846-6BD3-4930-86E1-BC08503002E6}"/>
    <dgm:cxn modelId="{4E546EB8-F8A9-4AC3-B3A8-70455BEC9497}" type="presOf" srcId="{138E9FFF-5527-4EFD-978F-CB4006125E88}" destId="{E1D5E322-30FE-4008-AB7D-0A1F6D170B50}" srcOrd="0" destOrd="0" presId="urn:microsoft.com/office/officeart/2005/8/layout/hierarchy3"/>
    <dgm:cxn modelId="{E2FFF6BC-8C95-443E-9012-337A1F86737F}" type="presOf" srcId="{34215446-F3BE-49FE-9AE9-92629D3798C3}" destId="{CFAF71D3-4039-4B6C-843C-66925103621A}" srcOrd="0" destOrd="0" presId="urn:microsoft.com/office/officeart/2005/8/layout/hierarchy3"/>
    <dgm:cxn modelId="{23A76FBE-684D-41B6-A2DC-E587E72ECFFC}" srcId="{A1417C06-F8E5-43BE-B247-7736ACAB81F8}" destId="{43D35050-088E-4D0B-9699-5965221D0E7F}" srcOrd="1" destOrd="0" parTransId="{18154705-C62A-4CFB-9ADB-4CE5C0CA6396}" sibTransId="{F61DA150-6B73-4F50-B7EC-0EFC9D1B67CC}"/>
    <dgm:cxn modelId="{4476E8BE-C724-49EA-A705-D935DD7439DD}" type="presOf" srcId="{6603E8B1-B3E8-4C95-9E70-DE6F3446155C}" destId="{C0FA6307-BC3F-41DF-9287-0901073ED665}" srcOrd="0" destOrd="0" presId="urn:microsoft.com/office/officeart/2005/8/layout/hierarchy3"/>
    <dgm:cxn modelId="{EEE5D4C1-C506-4535-99D4-5829824A65B0}" srcId="{2D438D4B-2BE5-47A6-BE88-B978CD5FDD42}" destId="{7A0D8ADC-DEF0-4537-9E41-BCE125B1A0E1}" srcOrd="3" destOrd="0" parTransId="{0538A195-724B-4711-B1C0-50314A1F359F}" sibTransId="{C30F4C04-1C67-4FCD-B1D1-C812A957EEE5}"/>
    <dgm:cxn modelId="{10B954C3-F2A5-4F86-AC27-7416DED39A60}" type="presOf" srcId="{3350743F-5F66-42EB-A27F-690C525BDDA8}" destId="{3CCA42F4-62E6-4F93-AA6F-FE19E555F99B}" srcOrd="0" destOrd="0" presId="urn:microsoft.com/office/officeart/2005/8/layout/hierarchy3"/>
    <dgm:cxn modelId="{55B8C4C4-61B6-4D5A-A4FE-9E426D10FCB0}" type="presOf" srcId="{31442DED-5D6A-4300-B799-805687BDD3E1}" destId="{4D168F0E-1267-4075-8203-6DBBF40B1218}" srcOrd="0" destOrd="0" presId="urn:microsoft.com/office/officeart/2005/8/layout/hierarchy3"/>
    <dgm:cxn modelId="{F2C219C5-E7F5-4BEA-BB6F-9C1AF09AF1BC}" type="presOf" srcId="{DEB27C9C-0B95-41D5-94FB-2B1CF07EA543}" destId="{A5CEFCEB-84BD-49BB-928C-96D9A9868B4D}" srcOrd="0" destOrd="0" presId="urn:microsoft.com/office/officeart/2005/8/layout/hierarchy3"/>
    <dgm:cxn modelId="{7D3E55C8-C702-4620-AE95-CCC52A1CD295}" type="presOf" srcId="{B63B0503-B73F-4AF3-B379-74A66822F5F7}" destId="{25504B7A-83BB-4C61-B082-D85C9017D8EB}" srcOrd="0" destOrd="0" presId="urn:microsoft.com/office/officeart/2005/8/layout/hierarchy3"/>
    <dgm:cxn modelId="{33CB7CC8-2EF5-4238-9E46-6C8708C045B1}" type="presOf" srcId="{6111499F-7E84-4FFD-997A-440D39CC9DA7}" destId="{7300C64C-16B9-47B2-8D7E-37F64D9269B0}" srcOrd="0" destOrd="0" presId="urn:microsoft.com/office/officeart/2005/8/layout/hierarchy3"/>
    <dgm:cxn modelId="{7D58C9C9-11E5-4999-A8BC-6DBF7ED1EEC3}" type="presOf" srcId="{2D438D4B-2BE5-47A6-BE88-B978CD5FDD42}" destId="{A5671ED3-6E81-4938-99B9-01D06A6958C2}" srcOrd="0" destOrd="0" presId="urn:microsoft.com/office/officeart/2005/8/layout/hierarchy3"/>
    <dgm:cxn modelId="{ECCACACA-56AE-4509-A394-1DF56410DE0A}" type="presOf" srcId="{4FA30A7B-F951-4603-BE13-88DC2414DC0B}" destId="{F9C0960A-8290-491A-9D3F-BF39642470CD}" srcOrd="0" destOrd="0" presId="urn:microsoft.com/office/officeart/2005/8/layout/hierarchy3"/>
    <dgm:cxn modelId="{28124FCB-D053-448E-8A6B-7C3277EE387C}" type="presOf" srcId="{08CE0815-0F59-4A99-8765-79FC6354B7D5}" destId="{615A8C88-0464-497A-9F93-30F00DE9E48B}" srcOrd="0" destOrd="0" presId="urn:microsoft.com/office/officeart/2005/8/layout/hierarchy3"/>
    <dgm:cxn modelId="{E9B6B8D0-D412-42DA-9910-ADBB6DBC5ED5}" srcId="{2D438D4B-2BE5-47A6-BE88-B978CD5FDD42}" destId="{5DF80E0A-257E-4BFB-B306-26FA9F849725}" srcOrd="0" destOrd="0" parTransId="{38B8B32E-7FD1-41D2-A086-E1852F34C7F7}" sibTransId="{574797E4-7718-4409-BD4F-10FFDB54E34A}"/>
    <dgm:cxn modelId="{30DCF9D0-3EB0-4DCE-B965-7FCC866644FF}" type="presOf" srcId="{D91ED6B5-7400-4294-B8F9-E232B2B1A68A}" destId="{937789B2-A88C-44DD-9FCA-730D55B17FCC}" srcOrd="0" destOrd="0" presId="urn:microsoft.com/office/officeart/2005/8/layout/hierarchy3"/>
    <dgm:cxn modelId="{0C5410D1-7F3D-416F-8EEC-A05EF12B8B28}" srcId="{A1417C06-F8E5-43BE-B247-7736ACAB81F8}" destId="{94B969E8-2045-4D36-B61F-1DE9AD4E855B}" srcOrd="0" destOrd="0" parTransId="{86D445E0-9929-4FC1-B305-0BCDA16AA819}" sibTransId="{146B9995-1F58-4615-AF72-79396FEB787D}"/>
    <dgm:cxn modelId="{3BF72AD2-91BD-4071-81BD-E22E90099162}" type="presOf" srcId="{63EE9832-88BF-4F52-97AD-9DBB1FBD1CAA}" destId="{4AB7A195-C06B-4E83-BC91-304D8E3126B6}" srcOrd="0" destOrd="0" presId="urn:microsoft.com/office/officeart/2005/8/layout/hierarchy3"/>
    <dgm:cxn modelId="{EFFB9CD4-E6E4-4F7D-8870-2EF660C6CD25}" srcId="{1F8D387B-3F7D-42DA-9FC4-E7F1D3AED25D}" destId="{A1417C06-F8E5-43BE-B247-7736ACAB81F8}" srcOrd="7" destOrd="0" parTransId="{B16A8FA1-2DB8-4FF1-97E3-FA236B3122EB}" sibTransId="{FF26CC65-32FD-4040-9EB5-32A438E5DF42}"/>
    <dgm:cxn modelId="{F0C1EFD6-DED1-4F2C-A8AC-9F64C808FC3B}" type="presOf" srcId="{69498214-F2AF-449B-A903-C0FF24194CEA}" destId="{54DB872D-CB6A-45C9-BE2F-D25B4DF45581}" srcOrd="0" destOrd="0" presId="urn:microsoft.com/office/officeart/2005/8/layout/hierarchy3"/>
    <dgm:cxn modelId="{A8F7B9DD-F65A-4D62-9A93-3921A4231CF5}" type="presOf" srcId="{8B937B9C-33E2-40BE-92DC-DC0B66E418D1}" destId="{B44BDB35-A7BB-42C7-9BDA-F1E462EDA021}" srcOrd="0" destOrd="0" presId="urn:microsoft.com/office/officeart/2005/8/layout/hierarchy3"/>
    <dgm:cxn modelId="{74BC36DF-FBD2-431D-87CE-AF09DD27DC54}" srcId="{6111499F-7E84-4FFD-997A-440D39CC9DA7}" destId="{DFBB32F0-9282-46B6-A9E7-94AF86C08B33}" srcOrd="3" destOrd="0" parTransId="{DEB27C9C-0B95-41D5-94FB-2B1CF07EA543}" sibTransId="{CA1A4845-7D48-47F5-98B8-F5E7C36EF961}"/>
    <dgm:cxn modelId="{31E095E1-96CB-4F02-925F-817024AFA707}" type="presOf" srcId="{D932A4D9-7A25-4D5F-BBD2-80C1CF317DED}" destId="{D84527AF-3AC7-4130-9A43-4712CD951998}" srcOrd="0" destOrd="0" presId="urn:microsoft.com/office/officeart/2005/8/layout/hierarchy3"/>
    <dgm:cxn modelId="{9C1541E2-DA5C-430C-A8DA-7BC89383D1FF}" type="presOf" srcId="{D25B5B33-E028-41D5-B3ED-7B610C9DD490}" destId="{A78CCD41-9FE2-41F7-A5D5-10799C80E96A}" srcOrd="0" destOrd="0" presId="urn:microsoft.com/office/officeart/2005/8/layout/hierarchy3"/>
    <dgm:cxn modelId="{35C273E3-E533-4C20-95EA-9F4AD217B577}" srcId="{4FB72500-C9DD-44F7-8B61-A91BD0FB94F1}" destId="{6603E8B1-B3E8-4C95-9E70-DE6F3446155C}" srcOrd="1" destOrd="0" parTransId="{FAD2DAE3-62C7-4F4D-80EF-2CD70940B086}" sibTransId="{CEA2DC80-0110-4039-8B29-BEEA84ABB3EF}"/>
    <dgm:cxn modelId="{AC46C1E7-83CF-49EB-B05F-A0CE42878693}" type="presOf" srcId="{2D438D4B-2BE5-47A6-BE88-B978CD5FDD42}" destId="{5E077A9F-9CB1-4258-8E4F-18B75CE0E549}" srcOrd="1" destOrd="0" presId="urn:microsoft.com/office/officeart/2005/8/layout/hierarchy3"/>
    <dgm:cxn modelId="{F94688E8-D139-4B2A-AA58-E979B1409353}" type="presOf" srcId="{56ED83B2-4117-448C-9CB7-C3AFED71ADD6}" destId="{3E2B8DE8-5F84-4CEB-B120-5E5CBD9CDF60}" srcOrd="0" destOrd="0" presId="urn:microsoft.com/office/officeart/2005/8/layout/hierarchy3"/>
    <dgm:cxn modelId="{78E300EC-E123-4206-A57B-4695091C53F7}" type="presOf" srcId="{F7065897-7276-4873-A139-B376004378ED}" destId="{3D4EC6AF-11F0-4CB1-AE4D-372C9E661A9E}" srcOrd="0" destOrd="0" presId="urn:microsoft.com/office/officeart/2005/8/layout/hierarchy3"/>
    <dgm:cxn modelId="{B5262AEF-B6C3-45CB-B586-85B5E9170C5B}" type="presOf" srcId="{5CAF40A1-9D11-44C3-8869-7B202CBC5480}" destId="{AD8C7C2F-C6B5-442A-96D9-9CB6FD626555}" srcOrd="1" destOrd="0" presId="urn:microsoft.com/office/officeart/2005/8/layout/hierarchy3"/>
    <dgm:cxn modelId="{84D533EF-3EBF-48E2-989F-87DA39C579CB}" srcId="{63EE9832-88BF-4F52-97AD-9DBB1FBD1CAA}" destId="{D3D9F0D2-84EB-41EB-8BD6-BC48444A8416}" srcOrd="2" destOrd="0" parTransId="{07CC5439-B02C-4F73-B455-2BDA24E390BD}" sibTransId="{2A721220-500E-4C7D-A091-56A7584BB8B6}"/>
    <dgm:cxn modelId="{A6BA77F0-E269-4CD1-81C0-9F3F55CAC0F2}" srcId="{D1317668-DF18-462C-9611-3A4A73ED838A}" destId="{138E9FFF-5527-4EFD-978F-CB4006125E88}" srcOrd="1" destOrd="0" parTransId="{36E8FB36-7532-4F2B-B4CE-BB1ACAE1D7E1}" sibTransId="{6F931E55-017B-479C-9B28-FC996E723933}"/>
    <dgm:cxn modelId="{BC688BF3-178B-450D-AFEA-1C9698A6ADB0}" type="presOf" srcId="{64BAB936-AE6B-41E1-981C-C183CDCF6D92}" destId="{7E32E45C-FC96-44E8-9FAF-7F4985CD6E13}" srcOrd="0" destOrd="0" presId="urn:microsoft.com/office/officeart/2005/8/layout/hierarchy3"/>
    <dgm:cxn modelId="{61B6EDF4-DD08-4042-87E4-B148653BC51B}" srcId="{1F8D387B-3F7D-42DA-9FC4-E7F1D3AED25D}" destId="{2D438D4B-2BE5-47A6-BE88-B978CD5FDD42}" srcOrd="5" destOrd="0" parTransId="{EE09FC50-4476-4A3A-9324-CF3B7DF530CC}" sibTransId="{166A3B23-744D-4A4C-8831-750ABBDF12F4}"/>
    <dgm:cxn modelId="{3FC3D3F6-44C3-41D7-A636-4EA33D627677}" type="presOf" srcId="{995E531B-F52F-48DA-965A-0D23EFAB8A09}" destId="{2518FA55-4FE8-4EF0-97CC-99091235F253}" srcOrd="0" destOrd="0" presId="urn:microsoft.com/office/officeart/2005/8/layout/hierarchy3"/>
    <dgm:cxn modelId="{1CF5F1F6-E02F-492E-9F68-17109419A084}" srcId="{63EE9832-88BF-4F52-97AD-9DBB1FBD1CAA}" destId="{96F651DD-A2AB-40E9-BD8D-A69C61A3AE58}" srcOrd="1" destOrd="0" parTransId="{001C2537-AB1D-4E3C-9ACD-7E4F7920B8B2}" sibTransId="{9A0BA745-DDCD-461B-AA0B-2766A1AB55ED}"/>
    <dgm:cxn modelId="{4F8C54F7-79E0-4737-B892-5F1488C08AE6}" type="presOf" srcId="{2E162297-A38F-4592-9BB6-5CB48DC1A046}" destId="{4A65A428-8839-4F0B-BA93-E4819B54947D}" srcOrd="0" destOrd="0" presId="urn:microsoft.com/office/officeart/2005/8/layout/hierarchy3"/>
    <dgm:cxn modelId="{52EAAFF7-D42F-4C5E-976C-873A9F75963C}" srcId="{4FB72500-C9DD-44F7-8B61-A91BD0FB94F1}" destId="{32D97933-5B7F-4236-A18C-DD54C0F59C93}" srcOrd="2" destOrd="0" parTransId="{F7065897-7276-4873-A139-B376004378ED}" sibTransId="{B8AA200A-A758-4E40-AECA-6E05C0F96E73}"/>
    <dgm:cxn modelId="{11D613FC-A8D9-4D84-AFE8-CDA4E53CF04D}" type="presOf" srcId="{96F651DD-A2AB-40E9-BD8D-A69C61A3AE58}" destId="{92211C69-1374-4E99-97DE-686D7308FB98}" srcOrd="0" destOrd="0" presId="urn:microsoft.com/office/officeart/2005/8/layout/hierarchy3"/>
    <dgm:cxn modelId="{248313FD-C5BA-459A-9EB1-51A739A22638}" srcId="{D1317668-DF18-462C-9611-3A4A73ED838A}" destId="{8B937B9C-33E2-40BE-92DC-DC0B66E418D1}" srcOrd="3" destOrd="0" parTransId="{9AECB401-F679-4FDB-8FBA-291E4E90DB0C}" sibTransId="{9CC01A99-B436-4D97-8FEF-E757647648F2}"/>
    <dgm:cxn modelId="{D82B67FF-25BC-4821-88A6-65F18F1F4F08}" type="presOf" srcId="{A1417C06-F8E5-43BE-B247-7736ACAB81F8}" destId="{EA3AEDA8-8142-46BB-A8FB-5D1150377BE2}" srcOrd="0" destOrd="0" presId="urn:microsoft.com/office/officeart/2005/8/layout/hierarchy3"/>
    <dgm:cxn modelId="{550BB731-6B09-4601-B337-D836F8C813E4}" type="presParOf" srcId="{72A9C093-47EA-468E-8567-070E144FDDDB}" destId="{545FEAC3-45C7-4E76-9486-6FF0B720C958}" srcOrd="0" destOrd="0" presId="urn:microsoft.com/office/officeart/2005/8/layout/hierarchy3"/>
    <dgm:cxn modelId="{BA2A6865-59DD-49BF-90EC-047920CA0258}" type="presParOf" srcId="{545FEAC3-45C7-4E76-9486-6FF0B720C958}" destId="{5B162E97-ABEF-4862-9C97-117DB0CE0418}" srcOrd="0" destOrd="0" presId="urn:microsoft.com/office/officeart/2005/8/layout/hierarchy3"/>
    <dgm:cxn modelId="{72212345-42EB-4F47-BF70-09F0E1F68781}" type="presParOf" srcId="{5B162E97-ABEF-4862-9C97-117DB0CE0418}" destId="{BD426824-542A-4E07-BCED-0B05B3E31ECD}" srcOrd="0" destOrd="0" presId="urn:microsoft.com/office/officeart/2005/8/layout/hierarchy3"/>
    <dgm:cxn modelId="{87FBA2E3-FFD1-4B1C-A6CF-C064E1279531}" type="presParOf" srcId="{5B162E97-ABEF-4862-9C97-117DB0CE0418}" destId="{C8C8408E-39D7-4621-8B1D-80E544705C9B}" srcOrd="1" destOrd="0" presId="urn:microsoft.com/office/officeart/2005/8/layout/hierarchy3"/>
    <dgm:cxn modelId="{9BDA8370-EAB5-4BA9-88AF-284026808EA1}" type="presParOf" srcId="{545FEAC3-45C7-4E76-9486-6FF0B720C958}" destId="{3427C19C-E25C-4D31-BC61-B3EB00A87A8F}" srcOrd="1" destOrd="0" presId="urn:microsoft.com/office/officeart/2005/8/layout/hierarchy3"/>
    <dgm:cxn modelId="{7DCC62F3-7F12-44FD-BA48-DE62E1A5FFB7}" type="presParOf" srcId="{3427C19C-E25C-4D31-BC61-B3EB00A87A8F}" destId="{CEF1999D-E343-4FE3-9C65-07E616C5CE3C}" srcOrd="0" destOrd="0" presId="urn:microsoft.com/office/officeart/2005/8/layout/hierarchy3"/>
    <dgm:cxn modelId="{EF27A1B9-2436-4B2B-8F1F-B68405655772}" type="presParOf" srcId="{3427C19C-E25C-4D31-BC61-B3EB00A87A8F}" destId="{4A65A428-8839-4F0B-BA93-E4819B54947D}" srcOrd="1" destOrd="0" presId="urn:microsoft.com/office/officeart/2005/8/layout/hierarchy3"/>
    <dgm:cxn modelId="{6ABC7C31-2779-4788-B2C5-88D7B3ED0A95}" type="presParOf" srcId="{3427C19C-E25C-4D31-BC61-B3EB00A87A8F}" destId="{BAE9EA83-65C6-4558-881A-070E723CBEA7}" srcOrd="2" destOrd="0" presId="urn:microsoft.com/office/officeart/2005/8/layout/hierarchy3"/>
    <dgm:cxn modelId="{8AE7D74A-D390-4DD7-8FE7-CFB47036F1D4}" type="presParOf" srcId="{3427C19C-E25C-4D31-BC61-B3EB00A87A8F}" destId="{C0FA6307-BC3F-41DF-9287-0901073ED665}" srcOrd="3" destOrd="0" presId="urn:microsoft.com/office/officeart/2005/8/layout/hierarchy3"/>
    <dgm:cxn modelId="{B8CBE7EF-CE9D-4E7A-A011-1CC6368E959C}" type="presParOf" srcId="{3427C19C-E25C-4D31-BC61-B3EB00A87A8F}" destId="{3D4EC6AF-11F0-4CB1-AE4D-372C9E661A9E}" srcOrd="4" destOrd="0" presId="urn:microsoft.com/office/officeart/2005/8/layout/hierarchy3"/>
    <dgm:cxn modelId="{E0B7DA87-324F-4EBF-9383-E5C1737D21C0}" type="presParOf" srcId="{3427C19C-E25C-4D31-BC61-B3EB00A87A8F}" destId="{FF7E4464-9914-41C0-9D2F-93E81C9200EF}" srcOrd="5" destOrd="0" presId="urn:microsoft.com/office/officeart/2005/8/layout/hierarchy3"/>
    <dgm:cxn modelId="{46A0D735-479A-4E24-BFB9-8CC66036BF63}" type="presParOf" srcId="{3427C19C-E25C-4D31-BC61-B3EB00A87A8F}" destId="{581652A7-2343-4664-95C7-5BFD14D42ADE}" srcOrd="6" destOrd="0" presId="urn:microsoft.com/office/officeart/2005/8/layout/hierarchy3"/>
    <dgm:cxn modelId="{4E3930A4-0979-40A2-884E-33270CFD7C51}" type="presParOf" srcId="{3427C19C-E25C-4D31-BC61-B3EB00A87A8F}" destId="{2133E0BF-911C-4B4E-987B-93D6699A4295}" srcOrd="7" destOrd="0" presId="urn:microsoft.com/office/officeart/2005/8/layout/hierarchy3"/>
    <dgm:cxn modelId="{5D177378-00B1-4B13-8584-011897B00BBC}" type="presParOf" srcId="{3427C19C-E25C-4D31-BC61-B3EB00A87A8F}" destId="{F7774E84-49AF-4640-A298-45341DF03C1A}" srcOrd="8" destOrd="0" presId="urn:microsoft.com/office/officeart/2005/8/layout/hierarchy3"/>
    <dgm:cxn modelId="{16120F60-9522-45F8-B7AF-97B7166C9F56}" type="presParOf" srcId="{3427C19C-E25C-4D31-BC61-B3EB00A87A8F}" destId="{A7E698E0-71E6-44B8-B23C-BF881225B08A}" srcOrd="9" destOrd="0" presId="urn:microsoft.com/office/officeart/2005/8/layout/hierarchy3"/>
    <dgm:cxn modelId="{BC55FF4F-2A00-4592-9FC4-90186E765CCE}" type="presParOf" srcId="{72A9C093-47EA-468E-8567-070E144FDDDB}" destId="{19158C7F-4DA4-4801-AC99-041B48C611BE}" srcOrd="1" destOrd="0" presId="urn:microsoft.com/office/officeart/2005/8/layout/hierarchy3"/>
    <dgm:cxn modelId="{CBFA84D9-E7E1-40B9-9DD6-1B65858E324A}" type="presParOf" srcId="{19158C7F-4DA4-4801-AC99-041B48C611BE}" destId="{268AE910-E0A5-4C31-A66D-AABA8195DF7B}" srcOrd="0" destOrd="0" presId="urn:microsoft.com/office/officeart/2005/8/layout/hierarchy3"/>
    <dgm:cxn modelId="{9A35B761-259C-4433-A103-B07B6086FBF7}" type="presParOf" srcId="{268AE910-E0A5-4C31-A66D-AABA8195DF7B}" destId="{59018FC4-9A5A-4E6C-B52E-B4EFAB21EBA6}" srcOrd="0" destOrd="0" presId="urn:microsoft.com/office/officeart/2005/8/layout/hierarchy3"/>
    <dgm:cxn modelId="{61326D38-2942-41B9-BC6A-B31DECFA73CA}" type="presParOf" srcId="{268AE910-E0A5-4C31-A66D-AABA8195DF7B}" destId="{AF25344B-68DE-40FB-BA81-C42CDD11F94B}" srcOrd="1" destOrd="0" presId="urn:microsoft.com/office/officeart/2005/8/layout/hierarchy3"/>
    <dgm:cxn modelId="{545D0ACC-1488-4DB8-8E64-22580DC8CDE4}" type="presParOf" srcId="{19158C7F-4DA4-4801-AC99-041B48C611BE}" destId="{1F9703BF-1D4D-469F-8906-A8222129CAD9}" srcOrd="1" destOrd="0" presId="urn:microsoft.com/office/officeart/2005/8/layout/hierarchy3"/>
    <dgm:cxn modelId="{666D4F60-90A5-43B6-A9BF-39DE22B9A296}" type="presParOf" srcId="{1F9703BF-1D4D-469F-8906-A8222129CAD9}" destId="{3CCA42F4-62E6-4F93-AA6F-FE19E555F99B}" srcOrd="0" destOrd="0" presId="urn:microsoft.com/office/officeart/2005/8/layout/hierarchy3"/>
    <dgm:cxn modelId="{0D55B0F9-7F3D-4D59-AEAD-786872CA250B}" type="presParOf" srcId="{1F9703BF-1D4D-469F-8906-A8222129CAD9}" destId="{25504B7A-83BB-4C61-B082-D85C9017D8EB}" srcOrd="1" destOrd="0" presId="urn:microsoft.com/office/officeart/2005/8/layout/hierarchy3"/>
    <dgm:cxn modelId="{ABD16D00-C574-470C-8EE0-1CB6FD5F11EE}" type="presParOf" srcId="{1F9703BF-1D4D-469F-8906-A8222129CAD9}" destId="{FB4C5A0C-6098-4435-AC39-CDD86AAC6F1D}" srcOrd="2" destOrd="0" presId="urn:microsoft.com/office/officeart/2005/8/layout/hierarchy3"/>
    <dgm:cxn modelId="{12624833-DE9C-4476-92DD-5661ADE84C67}" type="presParOf" srcId="{1F9703BF-1D4D-469F-8906-A8222129CAD9}" destId="{E427BAE4-8367-4B7D-8744-B036B785AEE4}" srcOrd="3" destOrd="0" presId="urn:microsoft.com/office/officeart/2005/8/layout/hierarchy3"/>
    <dgm:cxn modelId="{E93C3B52-F89E-477A-860C-E84BF70B0E41}" type="presParOf" srcId="{72A9C093-47EA-468E-8567-070E144FDDDB}" destId="{368E7274-38EA-4999-9A10-8BD0660D5860}" srcOrd="2" destOrd="0" presId="urn:microsoft.com/office/officeart/2005/8/layout/hierarchy3"/>
    <dgm:cxn modelId="{9DD08366-6218-41F3-AB13-8F7E55A6DE18}" type="presParOf" srcId="{368E7274-38EA-4999-9A10-8BD0660D5860}" destId="{EB7D5ABD-AC8F-447E-8052-E4C0FEF0C2E3}" srcOrd="0" destOrd="0" presId="urn:microsoft.com/office/officeart/2005/8/layout/hierarchy3"/>
    <dgm:cxn modelId="{45BC0889-A05F-40A3-8FE3-542ADBDD292F}" type="presParOf" srcId="{EB7D5ABD-AC8F-447E-8052-E4C0FEF0C2E3}" destId="{D20454F3-A0A5-4600-9312-8F7F9CFEE41B}" srcOrd="0" destOrd="0" presId="urn:microsoft.com/office/officeart/2005/8/layout/hierarchy3"/>
    <dgm:cxn modelId="{B241BF4C-8562-4A3A-87E4-1A889C4A0AE6}" type="presParOf" srcId="{EB7D5ABD-AC8F-447E-8052-E4C0FEF0C2E3}" destId="{59C9CBB7-215F-4E58-BE30-CB1F024D144E}" srcOrd="1" destOrd="0" presId="urn:microsoft.com/office/officeart/2005/8/layout/hierarchy3"/>
    <dgm:cxn modelId="{17F8734A-F5BC-4A55-86E5-AB7ABC0C0DDC}" type="presParOf" srcId="{368E7274-38EA-4999-9A10-8BD0660D5860}" destId="{E24C93FE-FB43-46AC-BC65-863D9407692A}" srcOrd="1" destOrd="0" presId="urn:microsoft.com/office/officeart/2005/8/layout/hierarchy3"/>
    <dgm:cxn modelId="{AEA2B86C-5BAD-4DFD-9F16-E427D05C3B86}" type="presParOf" srcId="{E24C93FE-FB43-46AC-BC65-863D9407692A}" destId="{54DB872D-CB6A-45C9-BE2F-D25B4DF45581}" srcOrd="0" destOrd="0" presId="urn:microsoft.com/office/officeart/2005/8/layout/hierarchy3"/>
    <dgm:cxn modelId="{DDEF4E62-4357-405F-89EC-AB00431A6F3F}" type="presParOf" srcId="{E24C93FE-FB43-46AC-BC65-863D9407692A}" destId="{937789B2-A88C-44DD-9FCA-730D55B17FCC}" srcOrd="1" destOrd="0" presId="urn:microsoft.com/office/officeart/2005/8/layout/hierarchy3"/>
    <dgm:cxn modelId="{924C4439-6602-4C84-8B8E-95348AA59EFF}" type="presParOf" srcId="{E24C93FE-FB43-46AC-BC65-863D9407692A}" destId="{884C6D65-67E8-4D66-B087-C39EC38DE8C0}" srcOrd="2" destOrd="0" presId="urn:microsoft.com/office/officeart/2005/8/layout/hierarchy3"/>
    <dgm:cxn modelId="{ECC7F3F4-B229-49E9-9881-8121013C5072}" type="presParOf" srcId="{E24C93FE-FB43-46AC-BC65-863D9407692A}" destId="{E1D5E322-30FE-4008-AB7D-0A1F6D170B50}" srcOrd="3" destOrd="0" presId="urn:microsoft.com/office/officeart/2005/8/layout/hierarchy3"/>
    <dgm:cxn modelId="{EE4B5C1A-6C23-40D9-8F4E-7650975FC68C}" type="presParOf" srcId="{E24C93FE-FB43-46AC-BC65-863D9407692A}" destId="{1A70A5B9-B91E-4E01-B4E4-B3E51BF76E99}" srcOrd="4" destOrd="0" presId="urn:microsoft.com/office/officeart/2005/8/layout/hierarchy3"/>
    <dgm:cxn modelId="{F934C950-CF70-4D8B-A6A5-A07CF4D93D38}" type="presParOf" srcId="{E24C93FE-FB43-46AC-BC65-863D9407692A}" destId="{155822BA-C6B6-4D8F-A556-E00D87DCE559}" srcOrd="5" destOrd="0" presId="urn:microsoft.com/office/officeart/2005/8/layout/hierarchy3"/>
    <dgm:cxn modelId="{82F257F3-F3A6-4330-A743-58E156F85688}" type="presParOf" srcId="{E24C93FE-FB43-46AC-BC65-863D9407692A}" destId="{8E1CDF58-78D4-4E7B-A3DF-1FF5DEE42F63}" srcOrd="6" destOrd="0" presId="urn:microsoft.com/office/officeart/2005/8/layout/hierarchy3"/>
    <dgm:cxn modelId="{CCC8FC36-293F-451D-A301-D3CFEF28A755}" type="presParOf" srcId="{E24C93FE-FB43-46AC-BC65-863D9407692A}" destId="{B44BDB35-A7BB-42C7-9BDA-F1E462EDA021}" srcOrd="7" destOrd="0" presId="urn:microsoft.com/office/officeart/2005/8/layout/hierarchy3"/>
    <dgm:cxn modelId="{2891AC24-551E-4D47-A6E2-6AE2A6099DA1}" type="presParOf" srcId="{E24C93FE-FB43-46AC-BC65-863D9407692A}" destId="{4D168F0E-1267-4075-8203-6DBBF40B1218}" srcOrd="8" destOrd="0" presId="urn:microsoft.com/office/officeart/2005/8/layout/hierarchy3"/>
    <dgm:cxn modelId="{615C5F28-5600-4C6A-A6F6-EF03EE69728B}" type="presParOf" srcId="{E24C93FE-FB43-46AC-BC65-863D9407692A}" destId="{E5D57686-1392-43F4-A052-0B7E463496DC}" srcOrd="9" destOrd="0" presId="urn:microsoft.com/office/officeart/2005/8/layout/hierarchy3"/>
    <dgm:cxn modelId="{77F19C4A-94E2-4581-BD64-14874260497D}" type="presParOf" srcId="{72A9C093-47EA-468E-8567-070E144FDDDB}" destId="{F3FC388A-EA66-48C3-B7E3-E08275991070}" srcOrd="3" destOrd="0" presId="urn:microsoft.com/office/officeart/2005/8/layout/hierarchy3"/>
    <dgm:cxn modelId="{D61DF352-BD64-41A5-A94C-5FC0241C9576}" type="presParOf" srcId="{F3FC388A-EA66-48C3-B7E3-E08275991070}" destId="{9135198B-BE6A-471E-95C3-E7269559E7D6}" srcOrd="0" destOrd="0" presId="urn:microsoft.com/office/officeart/2005/8/layout/hierarchy3"/>
    <dgm:cxn modelId="{E3F085CF-F9DB-4669-A219-A7826A0042A2}" type="presParOf" srcId="{9135198B-BE6A-471E-95C3-E7269559E7D6}" destId="{7300C64C-16B9-47B2-8D7E-37F64D9269B0}" srcOrd="0" destOrd="0" presId="urn:microsoft.com/office/officeart/2005/8/layout/hierarchy3"/>
    <dgm:cxn modelId="{CEDB8BE6-B5D3-4E53-AFFA-F2E9A7CF1564}" type="presParOf" srcId="{9135198B-BE6A-471E-95C3-E7269559E7D6}" destId="{8B6EE651-DC43-4E6E-A213-0C8319F650D9}" srcOrd="1" destOrd="0" presId="urn:microsoft.com/office/officeart/2005/8/layout/hierarchy3"/>
    <dgm:cxn modelId="{D3091D59-E9E6-4DDE-8C49-E44F5246E862}" type="presParOf" srcId="{F3FC388A-EA66-48C3-B7E3-E08275991070}" destId="{4AF793CB-71F1-46F3-B8FF-89B7B94A325F}" srcOrd="1" destOrd="0" presId="urn:microsoft.com/office/officeart/2005/8/layout/hierarchy3"/>
    <dgm:cxn modelId="{1649823E-60D0-4529-A958-C60147CDBBD7}" type="presParOf" srcId="{4AF793CB-71F1-46F3-B8FF-89B7B94A325F}" destId="{FD916923-DBCC-49BA-B146-E40C02564F37}" srcOrd="0" destOrd="0" presId="urn:microsoft.com/office/officeart/2005/8/layout/hierarchy3"/>
    <dgm:cxn modelId="{7133ACE7-DF84-49C2-916B-D9D57DFECDC8}" type="presParOf" srcId="{4AF793CB-71F1-46F3-B8FF-89B7B94A325F}" destId="{51021D62-6218-4F6D-9551-F2AA19477C8E}" srcOrd="1" destOrd="0" presId="urn:microsoft.com/office/officeart/2005/8/layout/hierarchy3"/>
    <dgm:cxn modelId="{6FD7211E-21A7-4AA2-8768-DC6339ACF738}" type="presParOf" srcId="{4AF793CB-71F1-46F3-B8FF-89B7B94A325F}" destId="{04F6D4CE-720D-4D93-8FFF-D122E64C9257}" srcOrd="2" destOrd="0" presId="urn:microsoft.com/office/officeart/2005/8/layout/hierarchy3"/>
    <dgm:cxn modelId="{9698633B-FDD6-4229-AD1F-2EFAB7427C22}" type="presParOf" srcId="{4AF793CB-71F1-46F3-B8FF-89B7B94A325F}" destId="{0D48B835-3524-4475-9E99-A63CB7A11A2F}" srcOrd="3" destOrd="0" presId="urn:microsoft.com/office/officeart/2005/8/layout/hierarchy3"/>
    <dgm:cxn modelId="{5A4AAD06-2711-4A5A-AF98-BAEF32B6D0F4}" type="presParOf" srcId="{4AF793CB-71F1-46F3-B8FF-89B7B94A325F}" destId="{2B65ECE9-4F75-41BD-BB0E-0640E8B8FDB1}" srcOrd="4" destOrd="0" presId="urn:microsoft.com/office/officeart/2005/8/layout/hierarchy3"/>
    <dgm:cxn modelId="{BE2875E0-9E18-4FDE-9BD9-CBF97CF2EF15}" type="presParOf" srcId="{4AF793CB-71F1-46F3-B8FF-89B7B94A325F}" destId="{1393EC1C-667A-4A09-8E3D-06EF4269627A}" srcOrd="5" destOrd="0" presId="urn:microsoft.com/office/officeart/2005/8/layout/hierarchy3"/>
    <dgm:cxn modelId="{DA130960-1682-4F57-9C5A-FB773A276746}" type="presParOf" srcId="{4AF793CB-71F1-46F3-B8FF-89B7B94A325F}" destId="{A5CEFCEB-84BD-49BB-928C-96D9A9868B4D}" srcOrd="6" destOrd="0" presId="urn:microsoft.com/office/officeart/2005/8/layout/hierarchy3"/>
    <dgm:cxn modelId="{3A2B1ABE-5293-4993-A556-739EC2028DD8}" type="presParOf" srcId="{4AF793CB-71F1-46F3-B8FF-89B7B94A325F}" destId="{AA05A8F9-1A05-4D2D-A52D-045C5A995E47}" srcOrd="7" destOrd="0" presId="urn:microsoft.com/office/officeart/2005/8/layout/hierarchy3"/>
    <dgm:cxn modelId="{A035574D-C211-4087-9D95-26E4FE02C391}" type="presParOf" srcId="{72A9C093-47EA-468E-8567-070E144FDDDB}" destId="{9A331C4E-0762-442A-919D-54782658F272}" srcOrd="4" destOrd="0" presId="urn:microsoft.com/office/officeart/2005/8/layout/hierarchy3"/>
    <dgm:cxn modelId="{698605E4-C91F-4513-AF75-43739D634B2B}" type="presParOf" srcId="{9A331C4E-0762-442A-919D-54782658F272}" destId="{2FB155A3-A125-4853-8DBB-3BD7D547FF6A}" srcOrd="0" destOrd="0" presId="urn:microsoft.com/office/officeart/2005/8/layout/hierarchy3"/>
    <dgm:cxn modelId="{74745644-E7FE-4DEA-9889-B7683B62837B}" type="presParOf" srcId="{2FB155A3-A125-4853-8DBB-3BD7D547FF6A}" destId="{6C2F269C-1D58-43B3-809E-2CFEAA7E9BD3}" srcOrd="0" destOrd="0" presId="urn:microsoft.com/office/officeart/2005/8/layout/hierarchy3"/>
    <dgm:cxn modelId="{DBB9E75C-C1B8-44C5-AA87-8FD74C7653C0}" type="presParOf" srcId="{2FB155A3-A125-4853-8DBB-3BD7D547FF6A}" destId="{AD8C7C2F-C6B5-442A-96D9-9CB6FD626555}" srcOrd="1" destOrd="0" presId="urn:microsoft.com/office/officeart/2005/8/layout/hierarchy3"/>
    <dgm:cxn modelId="{1FE408B2-27A9-4EDE-93DE-97CAF21FFFAC}" type="presParOf" srcId="{9A331C4E-0762-442A-919D-54782658F272}" destId="{07DA1F54-3ADC-43C3-BE5D-FA02BC7CB336}" srcOrd="1" destOrd="0" presId="urn:microsoft.com/office/officeart/2005/8/layout/hierarchy3"/>
    <dgm:cxn modelId="{1DB3A9CB-348E-4C14-BFE1-60A58EE45904}" type="presParOf" srcId="{07DA1F54-3ADC-43C3-BE5D-FA02BC7CB336}" destId="{E76E11A1-8172-46D3-B052-5389BC10C7BF}" srcOrd="0" destOrd="0" presId="urn:microsoft.com/office/officeart/2005/8/layout/hierarchy3"/>
    <dgm:cxn modelId="{41ACF288-5E9C-497A-8F4E-CCAF6EC9B40A}" type="presParOf" srcId="{07DA1F54-3ADC-43C3-BE5D-FA02BC7CB336}" destId="{F9C0960A-8290-491A-9D3F-BF39642470CD}" srcOrd="1" destOrd="0" presId="urn:microsoft.com/office/officeart/2005/8/layout/hierarchy3"/>
    <dgm:cxn modelId="{C810CEE0-A2CE-46E4-B22B-C67E454DC1DD}" type="presParOf" srcId="{07DA1F54-3ADC-43C3-BE5D-FA02BC7CB336}" destId="{CFAF71D3-4039-4B6C-843C-66925103621A}" srcOrd="2" destOrd="0" presId="urn:microsoft.com/office/officeart/2005/8/layout/hierarchy3"/>
    <dgm:cxn modelId="{0E29DF15-725E-463D-9DE9-94E1DE348F92}" type="presParOf" srcId="{07DA1F54-3ADC-43C3-BE5D-FA02BC7CB336}" destId="{3E2B8DE8-5F84-4CEB-B120-5E5CBD9CDF60}" srcOrd="3" destOrd="0" presId="urn:microsoft.com/office/officeart/2005/8/layout/hierarchy3"/>
    <dgm:cxn modelId="{BC67D499-F7EE-4922-87D0-DF6333E3F1F1}" type="presParOf" srcId="{07DA1F54-3ADC-43C3-BE5D-FA02BC7CB336}" destId="{53953E14-CD94-4C63-A85D-AD15E7E3733A}" srcOrd="4" destOrd="0" presId="urn:microsoft.com/office/officeart/2005/8/layout/hierarchy3"/>
    <dgm:cxn modelId="{739557AC-DEDE-49DD-9657-449674D154D9}" type="presParOf" srcId="{07DA1F54-3ADC-43C3-BE5D-FA02BC7CB336}" destId="{41307FB5-F254-42B6-B23D-B884E642CCAB}" srcOrd="5" destOrd="0" presId="urn:microsoft.com/office/officeart/2005/8/layout/hierarchy3"/>
    <dgm:cxn modelId="{37A29F10-DC2A-4B13-B93E-24A407B69B98}" type="presParOf" srcId="{72A9C093-47EA-468E-8567-070E144FDDDB}" destId="{6DEEFA07-776A-4437-B002-9F26BBEA0FEA}" srcOrd="5" destOrd="0" presId="urn:microsoft.com/office/officeart/2005/8/layout/hierarchy3"/>
    <dgm:cxn modelId="{F2296F12-75F6-4402-9963-3D38454816A8}" type="presParOf" srcId="{6DEEFA07-776A-4437-B002-9F26BBEA0FEA}" destId="{6E904152-C887-4E82-A83D-81F6263EF670}" srcOrd="0" destOrd="0" presId="urn:microsoft.com/office/officeart/2005/8/layout/hierarchy3"/>
    <dgm:cxn modelId="{1ECAA855-E563-4811-A595-8E7ADBCB5B98}" type="presParOf" srcId="{6E904152-C887-4E82-A83D-81F6263EF670}" destId="{A5671ED3-6E81-4938-99B9-01D06A6958C2}" srcOrd="0" destOrd="0" presId="urn:microsoft.com/office/officeart/2005/8/layout/hierarchy3"/>
    <dgm:cxn modelId="{A62EEEA5-86FD-42B6-B5FB-F65A961D4005}" type="presParOf" srcId="{6E904152-C887-4E82-A83D-81F6263EF670}" destId="{5E077A9F-9CB1-4258-8E4F-18B75CE0E549}" srcOrd="1" destOrd="0" presId="urn:microsoft.com/office/officeart/2005/8/layout/hierarchy3"/>
    <dgm:cxn modelId="{BFF0F48F-0C18-44AC-8DC1-C5871706B6F3}" type="presParOf" srcId="{6DEEFA07-776A-4437-B002-9F26BBEA0FEA}" destId="{61834EEF-27F4-4B70-A66F-65C9723A8990}" srcOrd="1" destOrd="0" presId="urn:microsoft.com/office/officeart/2005/8/layout/hierarchy3"/>
    <dgm:cxn modelId="{121452EA-6521-45FC-A4EA-24311E89D657}" type="presParOf" srcId="{61834EEF-27F4-4B70-A66F-65C9723A8990}" destId="{6AE11E5F-D8CC-499F-BADF-CFA8EB423C3E}" srcOrd="0" destOrd="0" presId="urn:microsoft.com/office/officeart/2005/8/layout/hierarchy3"/>
    <dgm:cxn modelId="{DFBEF237-0E54-4B81-B490-5FA4DF587A12}" type="presParOf" srcId="{61834EEF-27F4-4B70-A66F-65C9723A8990}" destId="{7EB9F7E8-7B65-48FA-93E8-09F5E99AAD47}" srcOrd="1" destOrd="0" presId="urn:microsoft.com/office/officeart/2005/8/layout/hierarchy3"/>
    <dgm:cxn modelId="{8E8A7E28-9E93-4625-8706-9C3CAA820BB6}" type="presParOf" srcId="{61834EEF-27F4-4B70-A66F-65C9723A8990}" destId="{8785D3B8-0E44-478E-A412-81B9BD2F5399}" srcOrd="2" destOrd="0" presId="urn:microsoft.com/office/officeart/2005/8/layout/hierarchy3"/>
    <dgm:cxn modelId="{63307235-47D7-43EC-9396-60610FB91EE6}" type="presParOf" srcId="{61834EEF-27F4-4B70-A66F-65C9723A8990}" destId="{ECFF2E2D-70C6-4723-813D-CCDE7B60B40F}" srcOrd="3" destOrd="0" presId="urn:microsoft.com/office/officeart/2005/8/layout/hierarchy3"/>
    <dgm:cxn modelId="{5A159EF6-8DCE-49E3-9F55-69157AE36506}" type="presParOf" srcId="{61834EEF-27F4-4B70-A66F-65C9723A8990}" destId="{B439AAE8-2A58-4901-BB70-E1EBACB4DE44}" srcOrd="4" destOrd="0" presId="urn:microsoft.com/office/officeart/2005/8/layout/hierarchy3"/>
    <dgm:cxn modelId="{83A721D1-EDA2-4C9D-9161-7E0B557C4B14}" type="presParOf" srcId="{61834EEF-27F4-4B70-A66F-65C9723A8990}" destId="{2518FA55-4FE8-4EF0-97CC-99091235F253}" srcOrd="5" destOrd="0" presId="urn:microsoft.com/office/officeart/2005/8/layout/hierarchy3"/>
    <dgm:cxn modelId="{E4CFECA3-E391-40C4-BF19-B40E34DD0F2E}" type="presParOf" srcId="{61834EEF-27F4-4B70-A66F-65C9723A8990}" destId="{C337C2E8-FA5B-42EA-9BC0-E81FBD0462CC}" srcOrd="6" destOrd="0" presId="urn:microsoft.com/office/officeart/2005/8/layout/hierarchy3"/>
    <dgm:cxn modelId="{0FEAEEA1-52A5-4A25-8068-F8876AD54985}" type="presParOf" srcId="{61834EEF-27F4-4B70-A66F-65C9723A8990}" destId="{17B27DC1-647F-490B-BEDD-5BAF8069CE2F}" srcOrd="7" destOrd="0" presId="urn:microsoft.com/office/officeart/2005/8/layout/hierarchy3"/>
    <dgm:cxn modelId="{6570587A-8BAB-4A6A-8F45-8667774F2296}" type="presParOf" srcId="{72A9C093-47EA-468E-8567-070E144FDDDB}" destId="{A1139331-373F-47FB-9080-607AF19B5BCE}" srcOrd="6" destOrd="0" presId="urn:microsoft.com/office/officeart/2005/8/layout/hierarchy3"/>
    <dgm:cxn modelId="{B8669861-D57F-4961-83A1-2119E7108BC2}" type="presParOf" srcId="{A1139331-373F-47FB-9080-607AF19B5BCE}" destId="{E81485EF-C918-4228-B00C-2D668CA8FABA}" srcOrd="0" destOrd="0" presId="urn:microsoft.com/office/officeart/2005/8/layout/hierarchy3"/>
    <dgm:cxn modelId="{1C3719BD-84F6-4E57-B0B6-E971A81557CA}" type="presParOf" srcId="{E81485EF-C918-4228-B00C-2D668CA8FABA}" destId="{4AB7A195-C06B-4E83-BC91-304D8E3126B6}" srcOrd="0" destOrd="0" presId="urn:microsoft.com/office/officeart/2005/8/layout/hierarchy3"/>
    <dgm:cxn modelId="{47188756-1669-4693-9E98-3B1E2C4A9576}" type="presParOf" srcId="{E81485EF-C918-4228-B00C-2D668CA8FABA}" destId="{7027875D-DA78-493B-BCC8-7E7C4C1AA6A9}" srcOrd="1" destOrd="0" presId="urn:microsoft.com/office/officeart/2005/8/layout/hierarchy3"/>
    <dgm:cxn modelId="{D37AF127-5C67-43D5-AAD6-38E8981F282F}" type="presParOf" srcId="{A1139331-373F-47FB-9080-607AF19B5BCE}" destId="{86473A01-CFA0-45C6-933B-64A452584048}" srcOrd="1" destOrd="0" presId="urn:microsoft.com/office/officeart/2005/8/layout/hierarchy3"/>
    <dgm:cxn modelId="{200BFF6B-99A8-4BEE-B0F4-3E1414A730E8}" type="presParOf" srcId="{86473A01-CFA0-45C6-933B-64A452584048}" destId="{0BD3247C-9739-4C56-B7E7-C4C674F497CB}" srcOrd="0" destOrd="0" presId="urn:microsoft.com/office/officeart/2005/8/layout/hierarchy3"/>
    <dgm:cxn modelId="{47D490E6-8DA3-428F-8DC8-E81D69208DFD}" type="presParOf" srcId="{86473A01-CFA0-45C6-933B-64A452584048}" destId="{D84527AF-3AC7-4130-9A43-4712CD951998}" srcOrd="1" destOrd="0" presId="urn:microsoft.com/office/officeart/2005/8/layout/hierarchy3"/>
    <dgm:cxn modelId="{67817F92-E9E9-429A-A8D9-319BE99FB26E}" type="presParOf" srcId="{86473A01-CFA0-45C6-933B-64A452584048}" destId="{3E2F638B-54BA-4BC2-8B22-5774A1958785}" srcOrd="2" destOrd="0" presId="urn:microsoft.com/office/officeart/2005/8/layout/hierarchy3"/>
    <dgm:cxn modelId="{B096E24A-73F1-4075-BC06-CFC44E48FF03}" type="presParOf" srcId="{86473A01-CFA0-45C6-933B-64A452584048}" destId="{92211C69-1374-4E99-97DE-686D7308FB98}" srcOrd="3" destOrd="0" presId="urn:microsoft.com/office/officeart/2005/8/layout/hierarchy3"/>
    <dgm:cxn modelId="{75E895A4-D8C4-485C-B288-1EB9AAFC8344}" type="presParOf" srcId="{86473A01-CFA0-45C6-933B-64A452584048}" destId="{C67BADCF-CEF9-4440-9483-02736AC2D5C3}" srcOrd="4" destOrd="0" presId="urn:microsoft.com/office/officeart/2005/8/layout/hierarchy3"/>
    <dgm:cxn modelId="{CCBAD8DD-F1A7-4AFF-BC42-3CDDFBF145B3}" type="presParOf" srcId="{86473A01-CFA0-45C6-933B-64A452584048}" destId="{F71F0C82-96C2-4DCC-9451-88F6A39B564C}" srcOrd="5" destOrd="0" presId="urn:microsoft.com/office/officeart/2005/8/layout/hierarchy3"/>
    <dgm:cxn modelId="{18062C82-B726-4F23-85EA-C191FF86E75C}" type="presParOf" srcId="{86473A01-CFA0-45C6-933B-64A452584048}" destId="{7E32E45C-FC96-44E8-9FAF-7F4985CD6E13}" srcOrd="6" destOrd="0" presId="urn:microsoft.com/office/officeart/2005/8/layout/hierarchy3"/>
    <dgm:cxn modelId="{454CB5B6-5A18-4767-AB0D-406F6E4C73C9}" type="presParOf" srcId="{86473A01-CFA0-45C6-933B-64A452584048}" destId="{A78CCD41-9FE2-41F7-A5D5-10799C80E96A}" srcOrd="7" destOrd="0" presId="urn:microsoft.com/office/officeart/2005/8/layout/hierarchy3"/>
    <dgm:cxn modelId="{DCAF3F27-79DA-447C-9EE2-A64A44175C39}" type="presParOf" srcId="{72A9C093-47EA-468E-8567-070E144FDDDB}" destId="{3EAFFC4B-8FFF-42BE-B767-725A7CA652D6}" srcOrd="7" destOrd="0" presId="urn:microsoft.com/office/officeart/2005/8/layout/hierarchy3"/>
    <dgm:cxn modelId="{06B4A4E5-3F1E-4A1F-9245-776AC0CEB8A1}" type="presParOf" srcId="{3EAFFC4B-8FFF-42BE-B767-725A7CA652D6}" destId="{55BB5E56-EA54-4C58-B9C8-BC1A5188C981}" srcOrd="0" destOrd="0" presId="urn:microsoft.com/office/officeart/2005/8/layout/hierarchy3"/>
    <dgm:cxn modelId="{9D41D821-8B64-4738-9A67-CD56F970F326}" type="presParOf" srcId="{55BB5E56-EA54-4C58-B9C8-BC1A5188C981}" destId="{EA3AEDA8-8142-46BB-A8FB-5D1150377BE2}" srcOrd="0" destOrd="0" presId="urn:microsoft.com/office/officeart/2005/8/layout/hierarchy3"/>
    <dgm:cxn modelId="{49151C35-BC45-455E-8B7A-D6815DACB162}" type="presParOf" srcId="{55BB5E56-EA54-4C58-B9C8-BC1A5188C981}" destId="{1FFD47ED-44D6-46E8-9E5B-A59944D114B9}" srcOrd="1" destOrd="0" presId="urn:microsoft.com/office/officeart/2005/8/layout/hierarchy3"/>
    <dgm:cxn modelId="{885F06BF-C40B-4543-A534-0E6BBB6C1137}" type="presParOf" srcId="{3EAFFC4B-8FFF-42BE-B767-725A7CA652D6}" destId="{7DAF8928-B14B-4E31-B109-05C33E22419E}" srcOrd="1" destOrd="0" presId="urn:microsoft.com/office/officeart/2005/8/layout/hierarchy3"/>
    <dgm:cxn modelId="{9B5ED2A7-491A-4951-94FD-F30B189B0500}" type="presParOf" srcId="{7DAF8928-B14B-4E31-B109-05C33E22419E}" destId="{3D620C62-350E-4C63-A2D9-6EC816040DFE}" srcOrd="0" destOrd="0" presId="urn:microsoft.com/office/officeart/2005/8/layout/hierarchy3"/>
    <dgm:cxn modelId="{C73FF516-6F04-42C3-AE07-6B834CDF3702}" type="presParOf" srcId="{7DAF8928-B14B-4E31-B109-05C33E22419E}" destId="{1ACE3F81-9FB6-4F25-AA4B-F86FA2221457}" srcOrd="1" destOrd="0" presId="urn:microsoft.com/office/officeart/2005/8/layout/hierarchy3"/>
    <dgm:cxn modelId="{ED11218B-81A4-4170-9411-229A83B09AA2}" type="presParOf" srcId="{7DAF8928-B14B-4E31-B109-05C33E22419E}" destId="{3622730F-261A-4155-9899-5F7930C0B2B5}" srcOrd="2" destOrd="0" presId="urn:microsoft.com/office/officeart/2005/8/layout/hierarchy3"/>
    <dgm:cxn modelId="{E5D5FAF7-B47F-4C88-8BDB-DCBAA3425144}" type="presParOf" srcId="{7DAF8928-B14B-4E31-B109-05C33E22419E}" destId="{88105C9A-6688-4206-AFF6-F96E9F823BA2}" srcOrd="3" destOrd="0" presId="urn:microsoft.com/office/officeart/2005/8/layout/hierarchy3"/>
    <dgm:cxn modelId="{05D4247D-FAD1-4AD6-AA6E-48FC16C0C9A4}" type="presParOf" srcId="{7DAF8928-B14B-4E31-B109-05C33E22419E}" destId="{615A8C88-0464-497A-9F93-30F00DE9E48B}" srcOrd="4" destOrd="0" presId="urn:microsoft.com/office/officeart/2005/8/layout/hierarchy3"/>
    <dgm:cxn modelId="{E539E72E-0726-4975-B5C2-C15564498906}" type="presParOf" srcId="{7DAF8928-B14B-4E31-B109-05C33E22419E}" destId="{60E703EC-F3FD-46BD-9EE7-A9B55FBCACD6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426824-542A-4E07-BCED-0B05B3E31ECD}">
      <dsp:nvSpPr>
        <dsp:cNvPr id="0" name=""/>
        <dsp:cNvSpPr/>
      </dsp:nvSpPr>
      <dsp:spPr>
        <a:xfrm>
          <a:off x="1335" y="535918"/>
          <a:ext cx="1121991" cy="560995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Content</a:t>
          </a:r>
        </a:p>
      </dsp:txBody>
      <dsp:txXfrm>
        <a:off x="17766" y="552349"/>
        <a:ext cx="1089129" cy="528133"/>
      </dsp:txXfrm>
    </dsp:sp>
    <dsp:sp modelId="{CEF1999D-E343-4FE3-9C65-07E616C5CE3C}">
      <dsp:nvSpPr>
        <dsp:cNvPr id="0" name=""/>
        <dsp:cNvSpPr/>
      </dsp:nvSpPr>
      <dsp:spPr>
        <a:xfrm>
          <a:off x="113534" y="1096913"/>
          <a:ext cx="112199" cy="420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0746"/>
              </a:lnTo>
              <a:lnTo>
                <a:pt x="112199" y="4207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65A428-8839-4F0B-BA93-E4819B54947D}">
      <dsp:nvSpPr>
        <dsp:cNvPr id="0" name=""/>
        <dsp:cNvSpPr/>
      </dsp:nvSpPr>
      <dsp:spPr>
        <a:xfrm>
          <a:off x="225733" y="1237162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 err="1"/>
            <a:t>Presentations</a:t>
          </a:r>
          <a:endParaRPr lang="de-DE" sz="1000" kern="1200" dirty="0"/>
        </a:p>
      </dsp:txBody>
      <dsp:txXfrm>
        <a:off x="242164" y="1253593"/>
        <a:ext cx="864730" cy="528133"/>
      </dsp:txXfrm>
    </dsp:sp>
    <dsp:sp modelId="{BAE9EA83-65C6-4558-881A-070E723CBEA7}">
      <dsp:nvSpPr>
        <dsp:cNvPr id="0" name=""/>
        <dsp:cNvSpPr/>
      </dsp:nvSpPr>
      <dsp:spPr>
        <a:xfrm>
          <a:off x="113534" y="1096913"/>
          <a:ext cx="112199" cy="11219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1991"/>
              </a:lnTo>
              <a:lnTo>
                <a:pt x="112199" y="11219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FA6307-BC3F-41DF-9287-0901073ED665}">
      <dsp:nvSpPr>
        <dsp:cNvPr id="0" name=""/>
        <dsp:cNvSpPr/>
      </dsp:nvSpPr>
      <dsp:spPr>
        <a:xfrm>
          <a:off x="225733" y="1938407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Product related documents</a:t>
          </a:r>
        </a:p>
      </dsp:txBody>
      <dsp:txXfrm>
        <a:off x="242164" y="1954838"/>
        <a:ext cx="864730" cy="528133"/>
      </dsp:txXfrm>
    </dsp:sp>
    <dsp:sp modelId="{3D4EC6AF-11F0-4CB1-AE4D-372C9E661A9E}">
      <dsp:nvSpPr>
        <dsp:cNvPr id="0" name=""/>
        <dsp:cNvSpPr/>
      </dsp:nvSpPr>
      <dsp:spPr>
        <a:xfrm>
          <a:off x="113534" y="1096913"/>
          <a:ext cx="112199" cy="1823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23235"/>
              </a:lnTo>
              <a:lnTo>
                <a:pt x="112199" y="182323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7E4464-9914-41C0-9D2F-93E81C9200EF}">
      <dsp:nvSpPr>
        <dsp:cNvPr id="0" name=""/>
        <dsp:cNvSpPr/>
      </dsp:nvSpPr>
      <dsp:spPr>
        <a:xfrm>
          <a:off x="225733" y="2639651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 err="1"/>
            <a:t>Application</a:t>
          </a:r>
          <a:r>
            <a:rPr lang="de-DE" sz="1000" kern="1200" dirty="0"/>
            <a:t> </a:t>
          </a:r>
          <a:r>
            <a:rPr lang="de-DE" sz="1000" kern="1200" dirty="0" err="1"/>
            <a:t>related</a:t>
          </a:r>
          <a:r>
            <a:rPr lang="de-DE" sz="1000" kern="1200" dirty="0"/>
            <a:t> </a:t>
          </a:r>
          <a:r>
            <a:rPr lang="de-DE" sz="1000" kern="1200" dirty="0" err="1"/>
            <a:t>Documents</a:t>
          </a:r>
          <a:endParaRPr lang="de-DE" sz="1000" kern="1200" dirty="0"/>
        </a:p>
      </dsp:txBody>
      <dsp:txXfrm>
        <a:off x="242164" y="2656082"/>
        <a:ext cx="864730" cy="528133"/>
      </dsp:txXfrm>
    </dsp:sp>
    <dsp:sp modelId="{581652A7-2343-4664-95C7-5BFD14D42ADE}">
      <dsp:nvSpPr>
        <dsp:cNvPr id="0" name=""/>
        <dsp:cNvSpPr/>
      </dsp:nvSpPr>
      <dsp:spPr>
        <a:xfrm>
          <a:off x="113534" y="1096913"/>
          <a:ext cx="112199" cy="25244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24480"/>
              </a:lnTo>
              <a:lnTo>
                <a:pt x="112199" y="252448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33E0BF-911C-4B4E-987B-93D6699A4295}">
      <dsp:nvSpPr>
        <dsp:cNvPr id="0" name=""/>
        <dsp:cNvSpPr/>
      </dsp:nvSpPr>
      <dsp:spPr>
        <a:xfrm>
          <a:off x="225733" y="3340896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 err="1"/>
            <a:t>Advanced</a:t>
          </a:r>
          <a:r>
            <a:rPr lang="de-DE" sz="1000" kern="1200" dirty="0"/>
            <a:t> </a:t>
          </a:r>
          <a:r>
            <a:rPr lang="de-DE" sz="1000" kern="1200" dirty="0" err="1"/>
            <a:t>technical</a:t>
          </a:r>
          <a:r>
            <a:rPr lang="de-DE" sz="1000" kern="1200" dirty="0"/>
            <a:t> </a:t>
          </a:r>
          <a:r>
            <a:rPr lang="de-DE" sz="1000" kern="1200" dirty="0" err="1"/>
            <a:t>Documentation</a:t>
          </a:r>
          <a:endParaRPr lang="de-DE" sz="1000" kern="1200" dirty="0"/>
        </a:p>
      </dsp:txBody>
      <dsp:txXfrm>
        <a:off x="242164" y="3357327"/>
        <a:ext cx="864730" cy="528133"/>
      </dsp:txXfrm>
    </dsp:sp>
    <dsp:sp modelId="{F7774E84-49AF-4640-A298-45341DF03C1A}">
      <dsp:nvSpPr>
        <dsp:cNvPr id="0" name=""/>
        <dsp:cNvSpPr/>
      </dsp:nvSpPr>
      <dsp:spPr>
        <a:xfrm>
          <a:off x="113534" y="1096913"/>
          <a:ext cx="112199" cy="32257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25724"/>
              </a:lnTo>
              <a:lnTo>
                <a:pt x="112199" y="32257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E698E0-71E6-44B8-B23C-BF881225B08A}">
      <dsp:nvSpPr>
        <dsp:cNvPr id="0" name=""/>
        <dsp:cNvSpPr/>
      </dsp:nvSpPr>
      <dsp:spPr>
        <a:xfrm>
          <a:off x="225733" y="4042141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 err="1"/>
            <a:t>Drawings</a:t>
          </a:r>
          <a:endParaRPr lang="de-DE" sz="1000" kern="1200" dirty="0"/>
        </a:p>
      </dsp:txBody>
      <dsp:txXfrm>
        <a:off x="242164" y="4058572"/>
        <a:ext cx="864730" cy="528133"/>
      </dsp:txXfrm>
    </dsp:sp>
    <dsp:sp modelId="{59018FC4-9A5A-4E6C-B52E-B4EFAB21EBA6}">
      <dsp:nvSpPr>
        <dsp:cNvPr id="0" name=""/>
        <dsp:cNvSpPr/>
      </dsp:nvSpPr>
      <dsp:spPr>
        <a:xfrm>
          <a:off x="1403824" y="535918"/>
          <a:ext cx="1121991" cy="560995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Education</a:t>
          </a:r>
        </a:p>
      </dsp:txBody>
      <dsp:txXfrm>
        <a:off x="1420255" y="552349"/>
        <a:ext cx="1089129" cy="528133"/>
      </dsp:txXfrm>
    </dsp:sp>
    <dsp:sp modelId="{3CCA42F4-62E6-4F93-AA6F-FE19E555F99B}">
      <dsp:nvSpPr>
        <dsp:cNvPr id="0" name=""/>
        <dsp:cNvSpPr/>
      </dsp:nvSpPr>
      <dsp:spPr>
        <a:xfrm>
          <a:off x="1516023" y="1096913"/>
          <a:ext cx="112199" cy="420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0746"/>
              </a:lnTo>
              <a:lnTo>
                <a:pt x="112199" y="4207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504B7A-83BB-4C61-B082-D85C9017D8EB}">
      <dsp:nvSpPr>
        <dsp:cNvPr id="0" name=""/>
        <dsp:cNvSpPr/>
      </dsp:nvSpPr>
      <dsp:spPr>
        <a:xfrm>
          <a:off x="1628223" y="1237162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Training Modules</a:t>
          </a:r>
        </a:p>
      </dsp:txBody>
      <dsp:txXfrm>
        <a:off x="1644654" y="1253593"/>
        <a:ext cx="864730" cy="528133"/>
      </dsp:txXfrm>
    </dsp:sp>
    <dsp:sp modelId="{FB4C5A0C-6098-4435-AC39-CDD86AAC6F1D}">
      <dsp:nvSpPr>
        <dsp:cNvPr id="0" name=""/>
        <dsp:cNvSpPr/>
      </dsp:nvSpPr>
      <dsp:spPr>
        <a:xfrm>
          <a:off x="1516023" y="1096913"/>
          <a:ext cx="112199" cy="11219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1991"/>
              </a:lnTo>
              <a:lnTo>
                <a:pt x="112199" y="11219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27BAE4-8367-4B7D-8744-B036B785AEE4}">
      <dsp:nvSpPr>
        <dsp:cNvPr id="0" name=""/>
        <dsp:cNvSpPr/>
      </dsp:nvSpPr>
      <dsp:spPr>
        <a:xfrm>
          <a:off x="1628223" y="1938407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elf-</a:t>
          </a:r>
          <a:r>
            <a:rPr lang="de-DE" sz="1000" kern="1200" dirty="0" err="1"/>
            <a:t>learning</a:t>
          </a:r>
          <a:r>
            <a:rPr lang="de-DE" sz="1000" kern="1200" dirty="0"/>
            <a:t> </a:t>
          </a:r>
          <a:r>
            <a:rPr lang="de-DE" sz="1000" kern="1200" dirty="0" err="1"/>
            <a:t>portal</a:t>
          </a:r>
          <a:endParaRPr lang="de-DE" sz="1000" kern="1200" dirty="0"/>
        </a:p>
      </dsp:txBody>
      <dsp:txXfrm>
        <a:off x="1644654" y="1954838"/>
        <a:ext cx="864730" cy="528133"/>
      </dsp:txXfrm>
    </dsp:sp>
    <dsp:sp modelId="{D20454F3-A0A5-4600-9312-8F7F9CFEE41B}">
      <dsp:nvSpPr>
        <dsp:cNvPr id="0" name=""/>
        <dsp:cNvSpPr/>
      </dsp:nvSpPr>
      <dsp:spPr>
        <a:xfrm>
          <a:off x="2806313" y="535918"/>
          <a:ext cx="1121991" cy="560995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Marketing</a:t>
          </a:r>
        </a:p>
      </dsp:txBody>
      <dsp:txXfrm>
        <a:off x="2822744" y="552349"/>
        <a:ext cx="1089129" cy="528133"/>
      </dsp:txXfrm>
    </dsp:sp>
    <dsp:sp modelId="{54DB872D-CB6A-45C9-BE2F-D25B4DF45581}">
      <dsp:nvSpPr>
        <dsp:cNvPr id="0" name=""/>
        <dsp:cNvSpPr/>
      </dsp:nvSpPr>
      <dsp:spPr>
        <a:xfrm>
          <a:off x="2918512" y="1096913"/>
          <a:ext cx="112199" cy="420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0746"/>
              </a:lnTo>
              <a:lnTo>
                <a:pt x="112199" y="4207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7789B2-A88C-44DD-9FCA-730D55B17FCC}">
      <dsp:nvSpPr>
        <dsp:cNvPr id="0" name=""/>
        <dsp:cNvSpPr/>
      </dsp:nvSpPr>
      <dsp:spPr>
        <a:xfrm>
          <a:off x="3030712" y="1237162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ision, Mission, </a:t>
          </a:r>
          <a:r>
            <a:rPr lang="de-DE" sz="1000" kern="1200" dirty="0" err="1"/>
            <a:t>Strategy</a:t>
          </a:r>
          <a:endParaRPr lang="de-DE" sz="1000" kern="1200" dirty="0"/>
        </a:p>
      </dsp:txBody>
      <dsp:txXfrm>
        <a:off x="3047143" y="1253593"/>
        <a:ext cx="864730" cy="528133"/>
      </dsp:txXfrm>
    </dsp:sp>
    <dsp:sp modelId="{884C6D65-67E8-4D66-B087-C39EC38DE8C0}">
      <dsp:nvSpPr>
        <dsp:cNvPr id="0" name=""/>
        <dsp:cNvSpPr/>
      </dsp:nvSpPr>
      <dsp:spPr>
        <a:xfrm>
          <a:off x="2918512" y="1096913"/>
          <a:ext cx="112199" cy="11219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1991"/>
              </a:lnTo>
              <a:lnTo>
                <a:pt x="112199" y="11219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D5E322-30FE-4008-AB7D-0A1F6D170B50}">
      <dsp:nvSpPr>
        <dsp:cNvPr id="0" name=""/>
        <dsp:cNvSpPr/>
      </dsp:nvSpPr>
      <dsp:spPr>
        <a:xfrm>
          <a:off x="3030712" y="1938407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 err="1"/>
            <a:t>Campaigns</a:t>
          </a:r>
          <a:endParaRPr lang="de-DE" sz="1000" kern="1200" dirty="0"/>
        </a:p>
      </dsp:txBody>
      <dsp:txXfrm>
        <a:off x="3047143" y="1954838"/>
        <a:ext cx="864730" cy="528133"/>
      </dsp:txXfrm>
    </dsp:sp>
    <dsp:sp modelId="{1A70A5B9-B91E-4E01-B4E4-B3E51BF76E99}">
      <dsp:nvSpPr>
        <dsp:cNvPr id="0" name=""/>
        <dsp:cNvSpPr/>
      </dsp:nvSpPr>
      <dsp:spPr>
        <a:xfrm>
          <a:off x="2918512" y="1096913"/>
          <a:ext cx="112199" cy="1823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23235"/>
              </a:lnTo>
              <a:lnTo>
                <a:pt x="112199" y="182323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5822BA-C6B6-4D8F-A556-E00D87DCE559}">
      <dsp:nvSpPr>
        <dsp:cNvPr id="0" name=""/>
        <dsp:cNvSpPr/>
      </dsp:nvSpPr>
      <dsp:spPr>
        <a:xfrm>
          <a:off x="3030712" y="2639651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Lead Generation</a:t>
          </a:r>
        </a:p>
      </dsp:txBody>
      <dsp:txXfrm>
        <a:off x="3047143" y="2656082"/>
        <a:ext cx="864730" cy="528133"/>
      </dsp:txXfrm>
    </dsp:sp>
    <dsp:sp modelId="{8E1CDF58-78D4-4E7B-A3DF-1FF5DEE42F63}">
      <dsp:nvSpPr>
        <dsp:cNvPr id="0" name=""/>
        <dsp:cNvSpPr/>
      </dsp:nvSpPr>
      <dsp:spPr>
        <a:xfrm>
          <a:off x="2918512" y="1096913"/>
          <a:ext cx="112199" cy="25244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24480"/>
              </a:lnTo>
              <a:lnTo>
                <a:pt x="112199" y="252448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4BDB35-A7BB-42C7-9BDA-F1E462EDA021}">
      <dsp:nvSpPr>
        <dsp:cNvPr id="0" name=""/>
        <dsp:cNvSpPr/>
      </dsp:nvSpPr>
      <dsp:spPr>
        <a:xfrm>
          <a:off x="3030712" y="3340896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Web </a:t>
          </a:r>
          <a:r>
            <a:rPr lang="de-DE" sz="1000" kern="1200" dirty="0" err="1"/>
            <a:t>page</a:t>
          </a:r>
          <a:r>
            <a:rPr lang="de-DE" sz="1000" kern="1200" dirty="0"/>
            <a:t> </a:t>
          </a:r>
          <a:r>
            <a:rPr lang="de-DE" sz="1000" kern="1200" dirty="0" err="1"/>
            <a:t>content</a:t>
          </a:r>
          <a:endParaRPr lang="de-DE" sz="1000" kern="1200" dirty="0"/>
        </a:p>
      </dsp:txBody>
      <dsp:txXfrm>
        <a:off x="3047143" y="3357327"/>
        <a:ext cx="864730" cy="528133"/>
      </dsp:txXfrm>
    </dsp:sp>
    <dsp:sp modelId="{4D168F0E-1267-4075-8203-6DBBF40B1218}">
      <dsp:nvSpPr>
        <dsp:cNvPr id="0" name=""/>
        <dsp:cNvSpPr/>
      </dsp:nvSpPr>
      <dsp:spPr>
        <a:xfrm>
          <a:off x="2918512" y="1096913"/>
          <a:ext cx="112199" cy="32257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25724"/>
              </a:lnTo>
              <a:lnTo>
                <a:pt x="112199" y="32257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D57686-1392-43F4-A052-0B7E463496DC}">
      <dsp:nvSpPr>
        <dsp:cNvPr id="0" name=""/>
        <dsp:cNvSpPr/>
      </dsp:nvSpPr>
      <dsp:spPr>
        <a:xfrm>
          <a:off x="3030712" y="4042141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ift </a:t>
          </a:r>
          <a:r>
            <a:rPr lang="de-DE" sz="1000" kern="1200" dirty="0" err="1"/>
            <a:t>shop</a:t>
          </a:r>
          <a:endParaRPr lang="de-DE" sz="1000" kern="1200" dirty="0"/>
        </a:p>
      </dsp:txBody>
      <dsp:txXfrm>
        <a:off x="3047143" y="4058572"/>
        <a:ext cx="864730" cy="528133"/>
      </dsp:txXfrm>
    </dsp:sp>
    <dsp:sp modelId="{7300C64C-16B9-47B2-8D7E-37F64D9269B0}">
      <dsp:nvSpPr>
        <dsp:cNvPr id="0" name=""/>
        <dsp:cNvSpPr/>
      </dsp:nvSpPr>
      <dsp:spPr>
        <a:xfrm>
          <a:off x="4208802" y="535918"/>
          <a:ext cx="1121991" cy="560995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 err="1"/>
            <a:t>Availability</a:t>
          </a:r>
          <a:endParaRPr lang="de-DE" sz="1500" kern="1200" dirty="0"/>
        </a:p>
      </dsp:txBody>
      <dsp:txXfrm>
        <a:off x="4225233" y="552349"/>
        <a:ext cx="1089129" cy="528133"/>
      </dsp:txXfrm>
    </dsp:sp>
    <dsp:sp modelId="{FD916923-DBCC-49BA-B146-E40C02564F37}">
      <dsp:nvSpPr>
        <dsp:cNvPr id="0" name=""/>
        <dsp:cNvSpPr/>
      </dsp:nvSpPr>
      <dsp:spPr>
        <a:xfrm>
          <a:off x="4321001" y="1096913"/>
          <a:ext cx="112199" cy="420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0746"/>
              </a:lnTo>
              <a:lnTo>
                <a:pt x="112199" y="4207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021D62-6218-4F6D-9551-F2AA19477C8E}">
      <dsp:nvSpPr>
        <dsp:cNvPr id="0" name=""/>
        <dsp:cNvSpPr/>
      </dsp:nvSpPr>
      <dsp:spPr>
        <a:xfrm>
          <a:off x="4433201" y="1237162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 err="1"/>
            <a:t>Mobilization</a:t>
          </a:r>
          <a:endParaRPr lang="de-DE" sz="1000" kern="1200" dirty="0"/>
        </a:p>
      </dsp:txBody>
      <dsp:txXfrm>
        <a:off x="4449632" y="1253593"/>
        <a:ext cx="864730" cy="528133"/>
      </dsp:txXfrm>
    </dsp:sp>
    <dsp:sp modelId="{04F6D4CE-720D-4D93-8FFF-D122E64C9257}">
      <dsp:nvSpPr>
        <dsp:cNvPr id="0" name=""/>
        <dsp:cNvSpPr/>
      </dsp:nvSpPr>
      <dsp:spPr>
        <a:xfrm>
          <a:off x="4321001" y="1096913"/>
          <a:ext cx="112199" cy="11219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1991"/>
              </a:lnTo>
              <a:lnTo>
                <a:pt x="112199" y="11219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48B835-3524-4475-9E99-A63CB7A11A2F}">
      <dsp:nvSpPr>
        <dsp:cNvPr id="0" name=""/>
        <dsp:cNvSpPr/>
      </dsp:nvSpPr>
      <dsp:spPr>
        <a:xfrm>
          <a:off x="4433201" y="1938407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 err="1"/>
            <a:t>Actual</a:t>
          </a:r>
          <a:r>
            <a:rPr lang="de-DE" sz="1000" kern="1200" dirty="0"/>
            <a:t> Stock </a:t>
          </a:r>
          <a:r>
            <a:rPr lang="de-DE" sz="1000" kern="1200" dirty="0" err="1"/>
            <a:t>information</a:t>
          </a:r>
          <a:endParaRPr lang="de-DE" sz="1000" kern="1200" dirty="0"/>
        </a:p>
      </dsp:txBody>
      <dsp:txXfrm>
        <a:off x="4449632" y="1954838"/>
        <a:ext cx="864730" cy="528133"/>
      </dsp:txXfrm>
    </dsp:sp>
    <dsp:sp modelId="{2B65ECE9-4F75-41BD-BB0E-0640E8B8FDB1}">
      <dsp:nvSpPr>
        <dsp:cNvPr id="0" name=""/>
        <dsp:cNvSpPr/>
      </dsp:nvSpPr>
      <dsp:spPr>
        <a:xfrm>
          <a:off x="4321001" y="1096913"/>
          <a:ext cx="112199" cy="1823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23235"/>
              </a:lnTo>
              <a:lnTo>
                <a:pt x="112199" y="182323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93EC1C-667A-4A09-8E3D-06EF4269627A}">
      <dsp:nvSpPr>
        <dsp:cNvPr id="0" name=""/>
        <dsp:cNvSpPr/>
      </dsp:nvSpPr>
      <dsp:spPr>
        <a:xfrm>
          <a:off x="4433201" y="2639651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Lead </a:t>
          </a:r>
          <a:r>
            <a:rPr lang="de-DE" sz="1000" kern="1200" dirty="0" err="1"/>
            <a:t>times</a:t>
          </a:r>
          <a:endParaRPr lang="de-DE" sz="1000" kern="1200" dirty="0"/>
        </a:p>
      </dsp:txBody>
      <dsp:txXfrm>
        <a:off x="4449632" y="2656082"/>
        <a:ext cx="864730" cy="528133"/>
      </dsp:txXfrm>
    </dsp:sp>
    <dsp:sp modelId="{A5CEFCEB-84BD-49BB-928C-96D9A9868B4D}">
      <dsp:nvSpPr>
        <dsp:cNvPr id="0" name=""/>
        <dsp:cNvSpPr/>
      </dsp:nvSpPr>
      <dsp:spPr>
        <a:xfrm>
          <a:off x="4321001" y="1096913"/>
          <a:ext cx="112199" cy="25244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24480"/>
              </a:lnTo>
              <a:lnTo>
                <a:pt x="112199" y="252448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05A8F9-1A05-4D2D-A52D-045C5A995E47}">
      <dsp:nvSpPr>
        <dsp:cNvPr id="0" name=""/>
        <dsp:cNvSpPr/>
      </dsp:nvSpPr>
      <dsp:spPr>
        <a:xfrm>
          <a:off x="4433201" y="3340896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neral </a:t>
          </a:r>
          <a:r>
            <a:rPr lang="de-DE" sz="1000" kern="1200" dirty="0" err="1"/>
            <a:t>Porfolio</a:t>
          </a:r>
          <a:endParaRPr lang="de-DE" sz="1000" kern="1200" dirty="0"/>
        </a:p>
      </dsp:txBody>
      <dsp:txXfrm>
        <a:off x="4449632" y="3357327"/>
        <a:ext cx="864730" cy="528133"/>
      </dsp:txXfrm>
    </dsp:sp>
    <dsp:sp modelId="{6C2F269C-1D58-43B3-809E-2CFEAA7E9BD3}">
      <dsp:nvSpPr>
        <dsp:cNvPr id="0" name=""/>
        <dsp:cNvSpPr/>
      </dsp:nvSpPr>
      <dsp:spPr>
        <a:xfrm>
          <a:off x="5611291" y="535918"/>
          <a:ext cx="1121991" cy="560995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Performance</a:t>
          </a:r>
        </a:p>
      </dsp:txBody>
      <dsp:txXfrm>
        <a:off x="5627722" y="552349"/>
        <a:ext cx="1089129" cy="528133"/>
      </dsp:txXfrm>
    </dsp:sp>
    <dsp:sp modelId="{E76E11A1-8172-46D3-B052-5389BC10C7BF}">
      <dsp:nvSpPr>
        <dsp:cNvPr id="0" name=""/>
        <dsp:cNvSpPr/>
      </dsp:nvSpPr>
      <dsp:spPr>
        <a:xfrm>
          <a:off x="5723491" y="1096913"/>
          <a:ext cx="112199" cy="420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0746"/>
              </a:lnTo>
              <a:lnTo>
                <a:pt x="112199" y="4207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C0960A-8290-491A-9D3F-BF39642470CD}">
      <dsp:nvSpPr>
        <dsp:cNvPr id="0" name=""/>
        <dsp:cNvSpPr/>
      </dsp:nvSpPr>
      <dsp:spPr>
        <a:xfrm>
          <a:off x="5835690" y="1237162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 err="1"/>
            <a:t>Contracts</a:t>
          </a:r>
          <a:endParaRPr lang="de-DE" sz="1000" kern="1200" dirty="0"/>
        </a:p>
      </dsp:txBody>
      <dsp:txXfrm>
        <a:off x="5852121" y="1253593"/>
        <a:ext cx="864730" cy="528133"/>
      </dsp:txXfrm>
    </dsp:sp>
    <dsp:sp modelId="{CFAF71D3-4039-4B6C-843C-66925103621A}">
      <dsp:nvSpPr>
        <dsp:cNvPr id="0" name=""/>
        <dsp:cNvSpPr/>
      </dsp:nvSpPr>
      <dsp:spPr>
        <a:xfrm>
          <a:off x="5723491" y="1096913"/>
          <a:ext cx="112199" cy="11219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1991"/>
              </a:lnTo>
              <a:lnTo>
                <a:pt x="112199" y="11219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2B8DE8-5F84-4CEB-B120-5E5CBD9CDF60}">
      <dsp:nvSpPr>
        <dsp:cNvPr id="0" name=""/>
        <dsp:cNvSpPr/>
      </dsp:nvSpPr>
      <dsp:spPr>
        <a:xfrm>
          <a:off x="5835690" y="1938407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Individual Targets</a:t>
          </a:r>
        </a:p>
      </dsp:txBody>
      <dsp:txXfrm>
        <a:off x="5852121" y="1954838"/>
        <a:ext cx="864730" cy="528133"/>
      </dsp:txXfrm>
    </dsp:sp>
    <dsp:sp modelId="{53953E14-CD94-4C63-A85D-AD15E7E3733A}">
      <dsp:nvSpPr>
        <dsp:cNvPr id="0" name=""/>
        <dsp:cNvSpPr/>
      </dsp:nvSpPr>
      <dsp:spPr>
        <a:xfrm>
          <a:off x="5723491" y="1096913"/>
          <a:ext cx="112199" cy="1823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23235"/>
              </a:lnTo>
              <a:lnTo>
                <a:pt x="112199" y="182323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307FB5-F254-42B6-B23D-B884E642CCAB}">
      <dsp:nvSpPr>
        <dsp:cNvPr id="0" name=""/>
        <dsp:cNvSpPr/>
      </dsp:nvSpPr>
      <dsp:spPr>
        <a:xfrm>
          <a:off x="5835690" y="2639651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chievement </a:t>
          </a:r>
          <a:r>
            <a:rPr lang="de-DE" sz="1000" kern="1200" dirty="0" err="1"/>
            <a:t>levels</a:t>
          </a:r>
          <a:endParaRPr lang="de-DE" sz="1000" kern="1200" dirty="0"/>
        </a:p>
      </dsp:txBody>
      <dsp:txXfrm>
        <a:off x="5852121" y="2656082"/>
        <a:ext cx="864730" cy="528133"/>
      </dsp:txXfrm>
    </dsp:sp>
    <dsp:sp modelId="{A5671ED3-6E81-4938-99B9-01D06A6958C2}">
      <dsp:nvSpPr>
        <dsp:cNvPr id="0" name=""/>
        <dsp:cNvSpPr/>
      </dsp:nvSpPr>
      <dsp:spPr>
        <a:xfrm>
          <a:off x="7013780" y="535918"/>
          <a:ext cx="1121991" cy="560995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CSC</a:t>
          </a:r>
        </a:p>
      </dsp:txBody>
      <dsp:txXfrm>
        <a:off x="7030211" y="552349"/>
        <a:ext cx="1089129" cy="528133"/>
      </dsp:txXfrm>
    </dsp:sp>
    <dsp:sp modelId="{6AE11E5F-D8CC-499F-BADF-CFA8EB423C3E}">
      <dsp:nvSpPr>
        <dsp:cNvPr id="0" name=""/>
        <dsp:cNvSpPr/>
      </dsp:nvSpPr>
      <dsp:spPr>
        <a:xfrm>
          <a:off x="7125980" y="1096913"/>
          <a:ext cx="112199" cy="420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0746"/>
              </a:lnTo>
              <a:lnTo>
                <a:pt x="112199" y="4207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B9F7E8-7B65-48FA-93E8-09F5E99AAD47}">
      <dsp:nvSpPr>
        <dsp:cNvPr id="0" name=""/>
        <dsp:cNvSpPr/>
      </dsp:nvSpPr>
      <dsp:spPr>
        <a:xfrm>
          <a:off x="7238179" y="1237162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Order Status</a:t>
          </a:r>
        </a:p>
      </dsp:txBody>
      <dsp:txXfrm>
        <a:off x="7254610" y="1253593"/>
        <a:ext cx="864730" cy="528133"/>
      </dsp:txXfrm>
    </dsp:sp>
    <dsp:sp modelId="{8785D3B8-0E44-478E-A412-81B9BD2F5399}">
      <dsp:nvSpPr>
        <dsp:cNvPr id="0" name=""/>
        <dsp:cNvSpPr/>
      </dsp:nvSpPr>
      <dsp:spPr>
        <a:xfrm>
          <a:off x="7125980" y="1096913"/>
          <a:ext cx="112199" cy="11219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1991"/>
              </a:lnTo>
              <a:lnTo>
                <a:pt x="112199" y="11219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FF2E2D-70C6-4723-813D-CCDE7B60B40F}">
      <dsp:nvSpPr>
        <dsp:cNvPr id="0" name=""/>
        <dsp:cNvSpPr/>
      </dsp:nvSpPr>
      <dsp:spPr>
        <a:xfrm>
          <a:off x="7238179" y="1938407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Order </a:t>
          </a:r>
          <a:r>
            <a:rPr lang="de-DE" sz="1000" kern="1200" dirty="0" err="1"/>
            <a:t>Platform</a:t>
          </a:r>
          <a:endParaRPr lang="de-DE" sz="1000" kern="1200" dirty="0"/>
        </a:p>
      </dsp:txBody>
      <dsp:txXfrm>
        <a:off x="7254610" y="1954838"/>
        <a:ext cx="864730" cy="528133"/>
      </dsp:txXfrm>
    </dsp:sp>
    <dsp:sp modelId="{B439AAE8-2A58-4901-BB70-E1EBACB4DE44}">
      <dsp:nvSpPr>
        <dsp:cNvPr id="0" name=""/>
        <dsp:cNvSpPr/>
      </dsp:nvSpPr>
      <dsp:spPr>
        <a:xfrm>
          <a:off x="7125980" y="1096913"/>
          <a:ext cx="112199" cy="1823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23235"/>
              </a:lnTo>
              <a:lnTo>
                <a:pt x="112199" y="182323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18FA55-4FE8-4EF0-97CC-99091235F253}">
      <dsp:nvSpPr>
        <dsp:cNvPr id="0" name=""/>
        <dsp:cNvSpPr/>
      </dsp:nvSpPr>
      <dsp:spPr>
        <a:xfrm>
          <a:off x="7238179" y="2639651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FOC Portal</a:t>
          </a:r>
        </a:p>
      </dsp:txBody>
      <dsp:txXfrm>
        <a:off x="7254610" y="2656082"/>
        <a:ext cx="864730" cy="528133"/>
      </dsp:txXfrm>
    </dsp:sp>
    <dsp:sp modelId="{C337C2E8-FA5B-42EA-9BC0-E81FBD0462CC}">
      <dsp:nvSpPr>
        <dsp:cNvPr id="0" name=""/>
        <dsp:cNvSpPr/>
      </dsp:nvSpPr>
      <dsp:spPr>
        <a:xfrm>
          <a:off x="7125980" y="1096913"/>
          <a:ext cx="112199" cy="25244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24480"/>
              </a:lnTo>
              <a:lnTo>
                <a:pt x="112199" y="252448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B27DC1-647F-490B-BEDD-5BAF8069CE2F}">
      <dsp:nvSpPr>
        <dsp:cNvPr id="0" name=""/>
        <dsp:cNvSpPr/>
      </dsp:nvSpPr>
      <dsp:spPr>
        <a:xfrm>
          <a:off x="7238179" y="3340896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CQ Portal</a:t>
          </a:r>
        </a:p>
      </dsp:txBody>
      <dsp:txXfrm>
        <a:off x="7254610" y="3357327"/>
        <a:ext cx="864730" cy="528133"/>
      </dsp:txXfrm>
    </dsp:sp>
    <dsp:sp modelId="{4AB7A195-C06B-4E83-BC91-304D8E3126B6}">
      <dsp:nvSpPr>
        <dsp:cNvPr id="0" name=""/>
        <dsp:cNvSpPr/>
      </dsp:nvSpPr>
      <dsp:spPr>
        <a:xfrm>
          <a:off x="8416270" y="535918"/>
          <a:ext cx="1121991" cy="560995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Pricing</a:t>
          </a:r>
        </a:p>
      </dsp:txBody>
      <dsp:txXfrm>
        <a:off x="8432701" y="552349"/>
        <a:ext cx="1089129" cy="528133"/>
      </dsp:txXfrm>
    </dsp:sp>
    <dsp:sp modelId="{0BD3247C-9739-4C56-B7E7-C4C674F497CB}">
      <dsp:nvSpPr>
        <dsp:cNvPr id="0" name=""/>
        <dsp:cNvSpPr/>
      </dsp:nvSpPr>
      <dsp:spPr>
        <a:xfrm>
          <a:off x="8528469" y="1096913"/>
          <a:ext cx="112199" cy="420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0746"/>
              </a:lnTo>
              <a:lnTo>
                <a:pt x="112199" y="4207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4527AF-3AC7-4130-9A43-4712CD951998}">
      <dsp:nvSpPr>
        <dsp:cNvPr id="0" name=""/>
        <dsp:cNvSpPr/>
      </dsp:nvSpPr>
      <dsp:spPr>
        <a:xfrm>
          <a:off x="8640668" y="1237162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Price Lists</a:t>
          </a:r>
        </a:p>
      </dsp:txBody>
      <dsp:txXfrm>
        <a:off x="8657099" y="1253593"/>
        <a:ext cx="864730" cy="528133"/>
      </dsp:txXfrm>
    </dsp:sp>
    <dsp:sp modelId="{3E2F638B-54BA-4BC2-8B22-5774A1958785}">
      <dsp:nvSpPr>
        <dsp:cNvPr id="0" name=""/>
        <dsp:cNvSpPr/>
      </dsp:nvSpPr>
      <dsp:spPr>
        <a:xfrm>
          <a:off x="8528469" y="1096913"/>
          <a:ext cx="112199" cy="11219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1991"/>
              </a:lnTo>
              <a:lnTo>
                <a:pt x="112199" y="11219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211C69-1374-4E99-97DE-686D7308FB98}">
      <dsp:nvSpPr>
        <dsp:cNvPr id="0" name=""/>
        <dsp:cNvSpPr/>
      </dsp:nvSpPr>
      <dsp:spPr>
        <a:xfrm>
          <a:off x="8640668" y="1938407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 err="1"/>
            <a:t>Quotations</a:t>
          </a:r>
          <a:endParaRPr lang="de-DE" sz="1000" kern="1200" dirty="0"/>
        </a:p>
      </dsp:txBody>
      <dsp:txXfrm>
        <a:off x="8657099" y="1954838"/>
        <a:ext cx="864730" cy="528133"/>
      </dsp:txXfrm>
    </dsp:sp>
    <dsp:sp modelId="{C67BADCF-CEF9-4440-9483-02736AC2D5C3}">
      <dsp:nvSpPr>
        <dsp:cNvPr id="0" name=""/>
        <dsp:cNvSpPr/>
      </dsp:nvSpPr>
      <dsp:spPr>
        <a:xfrm>
          <a:off x="8528469" y="1096913"/>
          <a:ext cx="112199" cy="1823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23235"/>
              </a:lnTo>
              <a:lnTo>
                <a:pt x="112199" y="182323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1F0C82-96C2-4DCC-9451-88F6A39B564C}">
      <dsp:nvSpPr>
        <dsp:cNvPr id="0" name=""/>
        <dsp:cNvSpPr/>
      </dsp:nvSpPr>
      <dsp:spPr>
        <a:xfrm>
          <a:off x="8640668" y="2639651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Online </a:t>
          </a:r>
          <a:r>
            <a:rPr lang="de-DE" sz="1000" kern="1200" dirty="0" err="1"/>
            <a:t>Configurator</a:t>
          </a:r>
          <a:endParaRPr lang="de-DE" sz="1000" kern="1200" dirty="0"/>
        </a:p>
      </dsp:txBody>
      <dsp:txXfrm>
        <a:off x="8657099" y="2656082"/>
        <a:ext cx="864730" cy="528133"/>
      </dsp:txXfrm>
    </dsp:sp>
    <dsp:sp modelId="{7E32E45C-FC96-44E8-9FAF-7F4985CD6E13}">
      <dsp:nvSpPr>
        <dsp:cNvPr id="0" name=""/>
        <dsp:cNvSpPr/>
      </dsp:nvSpPr>
      <dsp:spPr>
        <a:xfrm>
          <a:off x="8528469" y="1096913"/>
          <a:ext cx="112199" cy="25244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24480"/>
              </a:lnTo>
              <a:lnTo>
                <a:pt x="112199" y="252448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8CCD41-9FE2-41F7-A5D5-10799C80E96A}">
      <dsp:nvSpPr>
        <dsp:cNvPr id="0" name=""/>
        <dsp:cNvSpPr/>
      </dsp:nvSpPr>
      <dsp:spPr>
        <a:xfrm>
          <a:off x="8640668" y="3340896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Project Portal</a:t>
          </a:r>
        </a:p>
      </dsp:txBody>
      <dsp:txXfrm>
        <a:off x="8657099" y="3357327"/>
        <a:ext cx="864730" cy="528133"/>
      </dsp:txXfrm>
    </dsp:sp>
    <dsp:sp modelId="{EA3AEDA8-8142-46BB-A8FB-5D1150377BE2}">
      <dsp:nvSpPr>
        <dsp:cNvPr id="0" name=""/>
        <dsp:cNvSpPr/>
      </dsp:nvSpPr>
      <dsp:spPr>
        <a:xfrm>
          <a:off x="9818759" y="535918"/>
          <a:ext cx="1121991" cy="560995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Interactive</a:t>
          </a:r>
        </a:p>
      </dsp:txBody>
      <dsp:txXfrm>
        <a:off x="9835190" y="552349"/>
        <a:ext cx="1089129" cy="528133"/>
      </dsp:txXfrm>
    </dsp:sp>
    <dsp:sp modelId="{3D620C62-350E-4C63-A2D9-6EC816040DFE}">
      <dsp:nvSpPr>
        <dsp:cNvPr id="0" name=""/>
        <dsp:cNvSpPr/>
      </dsp:nvSpPr>
      <dsp:spPr>
        <a:xfrm>
          <a:off x="9930958" y="1096913"/>
          <a:ext cx="112199" cy="420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0746"/>
              </a:lnTo>
              <a:lnTo>
                <a:pt x="112199" y="4207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CE3F81-9FB6-4F25-AA4B-F86FA2221457}">
      <dsp:nvSpPr>
        <dsp:cNvPr id="0" name=""/>
        <dsp:cNvSpPr/>
      </dsp:nvSpPr>
      <dsp:spPr>
        <a:xfrm>
          <a:off x="10043157" y="1237162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FAQ</a:t>
          </a:r>
        </a:p>
      </dsp:txBody>
      <dsp:txXfrm>
        <a:off x="10059588" y="1253593"/>
        <a:ext cx="864730" cy="528133"/>
      </dsp:txXfrm>
    </dsp:sp>
    <dsp:sp modelId="{3622730F-261A-4155-9899-5F7930C0B2B5}">
      <dsp:nvSpPr>
        <dsp:cNvPr id="0" name=""/>
        <dsp:cNvSpPr/>
      </dsp:nvSpPr>
      <dsp:spPr>
        <a:xfrm>
          <a:off x="9930958" y="1096913"/>
          <a:ext cx="112199" cy="11219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1991"/>
              </a:lnTo>
              <a:lnTo>
                <a:pt x="112199" y="11219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105C9A-6688-4206-AFF6-F96E9F823BA2}">
      <dsp:nvSpPr>
        <dsp:cNvPr id="0" name=""/>
        <dsp:cNvSpPr/>
      </dsp:nvSpPr>
      <dsp:spPr>
        <a:xfrm>
          <a:off x="10043157" y="1938407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Chat </a:t>
          </a:r>
          <a:r>
            <a:rPr lang="de-DE" sz="1000" kern="1200" dirty="0" err="1"/>
            <a:t>functionality</a:t>
          </a:r>
          <a:endParaRPr lang="de-DE" sz="1000" kern="1200" dirty="0"/>
        </a:p>
      </dsp:txBody>
      <dsp:txXfrm>
        <a:off x="10059588" y="1954838"/>
        <a:ext cx="864730" cy="528133"/>
      </dsp:txXfrm>
    </dsp:sp>
    <dsp:sp modelId="{615A8C88-0464-497A-9F93-30F00DE9E48B}">
      <dsp:nvSpPr>
        <dsp:cNvPr id="0" name=""/>
        <dsp:cNvSpPr/>
      </dsp:nvSpPr>
      <dsp:spPr>
        <a:xfrm>
          <a:off x="9930958" y="1096913"/>
          <a:ext cx="112199" cy="1823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23235"/>
              </a:lnTo>
              <a:lnTo>
                <a:pt x="112199" y="182323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E703EC-F3FD-46BD-9EE7-A9B55FBCACD6}">
      <dsp:nvSpPr>
        <dsp:cNvPr id="0" name=""/>
        <dsp:cNvSpPr/>
      </dsp:nvSpPr>
      <dsp:spPr>
        <a:xfrm>
          <a:off x="10043157" y="2639651"/>
          <a:ext cx="897592" cy="560995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Upload </a:t>
          </a:r>
          <a:r>
            <a:rPr lang="de-DE" sz="1000" kern="1200" dirty="0" err="1"/>
            <a:t>functionality</a:t>
          </a:r>
          <a:endParaRPr lang="de-DE" sz="1000" kern="1200" dirty="0"/>
        </a:p>
      </dsp:txBody>
      <dsp:txXfrm>
        <a:off x="10059588" y="2656082"/>
        <a:ext cx="864730" cy="5281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ntents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6243DE1-CD62-A84C-9ED9-FD23C88CAA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06538"/>
            <a:ext cx="11183938" cy="4262437"/>
          </a:xfrm>
          <a:prstGeom prst="rect">
            <a:avLst/>
          </a:prstGeom>
        </p:spPr>
        <p:txBody>
          <a:bodyPr anchor="ctr" anchorCtr="0"/>
          <a:lstStyle>
            <a:lvl1pPr marL="457200" marR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C4C02"/>
              </a:buClr>
              <a:buSzTx/>
              <a:buFont typeface="+mj-lt"/>
              <a:buAutoNum type="arabicPeriod"/>
              <a:tabLst/>
              <a:defRPr sz="2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indent="-457200">
              <a:buFont typeface="+mj-lt"/>
              <a:buAutoNum type="arabicPeriod"/>
              <a:defRPr/>
            </a:lvl2pPr>
            <a:lvl3pPr marL="1371600" indent="-457200">
              <a:buFont typeface="+mj-lt"/>
              <a:buAutoNum type="arabicPeriod"/>
              <a:defRPr/>
            </a:lvl3pPr>
            <a:lvl4pPr marL="1714500" indent="-342900">
              <a:buFont typeface="+mj-lt"/>
              <a:buAutoNum type="arabicPeriod"/>
              <a:defRPr/>
            </a:lvl4pPr>
            <a:lvl5pPr marL="2171700" indent="-342900">
              <a:buFont typeface="+mj-lt"/>
              <a:buAutoNum type="arabicPeriod"/>
              <a:defRPr/>
            </a:lvl5pPr>
          </a:lstStyle>
          <a:p>
            <a:pPr marL="457200" indent="-457200">
              <a:buClr>
                <a:srgbClr val="FC4C02"/>
              </a:buClr>
              <a:buFont typeface="+mj-lt"/>
              <a:buAutoNum type="arabicPeriod"/>
            </a:pPr>
            <a:r>
              <a:rPr lang="en-US"/>
              <a:t>Insert section title here</a:t>
            </a:r>
          </a:p>
          <a:p>
            <a:pPr marL="457200" indent="-457200">
              <a:buClr>
                <a:srgbClr val="FC4C02"/>
              </a:buClr>
              <a:buFont typeface="+mj-lt"/>
              <a:buAutoNum type="arabicPeriod"/>
            </a:pPr>
            <a:r>
              <a:rPr lang="en-US"/>
              <a:t>Insert section title here</a:t>
            </a:r>
          </a:p>
          <a:p>
            <a:pPr marL="457200" indent="-457200">
              <a:buClr>
                <a:srgbClr val="FC4C02"/>
              </a:buClr>
              <a:buFont typeface="+mj-lt"/>
              <a:buAutoNum type="arabicPeriod"/>
            </a:pPr>
            <a:r>
              <a:rPr lang="en-US"/>
              <a:t>Insert section title here</a:t>
            </a:r>
          </a:p>
          <a:p>
            <a:pPr marL="457200" indent="-457200">
              <a:buClr>
                <a:srgbClr val="FC4C02"/>
              </a:buClr>
              <a:buFont typeface="+mj-lt"/>
              <a:buAutoNum type="arabicPeriod"/>
            </a:pPr>
            <a:r>
              <a:rPr lang="en-US"/>
              <a:t>Insert section title here</a:t>
            </a:r>
          </a:p>
          <a:p>
            <a:pPr marL="514350" marR="0" lvl="0" indent="-5143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GB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8B33630-7355-2645-BF77-C0F8017F7798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139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ingle column text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1F9E92-25E1-154C-B28D-7903B3471807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FA8AE8-738E-7C4F-AD06-FA24CBC750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433" y="1567314"/>
            <a:ext cx="9418087" cy="420166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</p:spTree>
    <p:extLst>
      <p:ext uri="{BB962C8B-B14F-4D97-AF65-F5344CB8AC3E}">
        <p14:creationId xmlns:p14="http://schemas.microsoft.com/office/powerpoint/2010/main" val="2576432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  <p15:guide id="10" orient="horz" pos="104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large tex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ingle column large text list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1F9E92-25E1-154C-B28D-7903B3471807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FA8AE8-738E-7C4F-AD06-FA24CBC750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433" y="1567544"/>
            <a:ext cx="9418087" cy="420143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r>
              <a:rPr lang="en-GB" b="1">
                <a:solidFill>
                  <a:srgbClr val="FC4C02"/>
                </a:solidFill>
              </a:rPr>
              <a:t>Insert title here: </a:t>
            </a:r>
            <a:r>
              <a:rPr lang="en-GB"/>
              <a:t>Insert detail here</a:t>
            </a:r>
          </a:p>
          <a:p>
            <a:r>
              <a:rPr lang="en-GB" b="1">
                <a:solidFill>
                  <a:srgbClr val="FC4C02"/>
                </a:solidFill>
              </a:rPr>
              <a:t>Insert title here: </a:t>
            </a:r>
            <a:r>
              <a:rPr lang="en-GB"/>
              <a:t>Insert detail here</a:t>
            </a:r>
            <a:endParaRPr lang="en-GB" b="1">
              <a:solidFill>
                <a:srgbClr val="FC4C02"/>
              </a:solidFill>
            </a:endParaRPr>
          </a:p>
          <a:p>
            <a:pPr lvl="0">
              <a:defRPr/>
            </a:pPr>
            <a:r>
              <a:rPr lang="en-GB" b="1">
                <a:solidFill>
                  <a:srgbClr val="FC4C02"/>
                </a:solidFill>
              </a:rPr>
              <a:t>Insert title here: </a:t>
            </a:r>
            <a:r>
              <a:rPr lang="en-GB"/>
              <a:t>Insert detail here</a:t>
            </a:r>
          </a:p>
          <a:p>
            <a:pPr lvl="0">
              <a:defRPr/>
            </a:pPr>
            <a:r>
              <a:rPr lang="en-GB" b="1">
                <a:solidFill>
                  <a:srgbClr val="FC4C02"/>
                </a:solidFill>
              </a:rPr>
              <a:t>Insert title here: </a:t>
            </a:r>
            <a:r>
              <a:rPr lang="en-GB"/>
              <a:t>Insert detail here</a:t>
            </a:r>
            <a:endParaRPr lang="en-GB" b="1">
              <a:solidFill>
                <a:srgbClr val="FC4C02"/>
              </a:solidFill>
              <a:latin typeface="Futura Std Heavy" panose="020B0502020204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251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  <p15:guide id="10" orient="horz" pos="104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large text with numbering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ingle column large text with numbering op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1F9E92-25E1-154C-B28D-7903B3471807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FA8AE8-738E-7C4F-AD06-FA24CBC750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433" y="1567544"/>
            <a:ext cx="9418087" cy="420143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C4C02"/>
              </a:buClr>
              <a:buSzTx/>
              <a:buFont typeface="+mj-lt"/>
              <a:buAutoNum type="arabicPeriod"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r>
              <a:rPr lang="en-GB"/>
              <a:t> Insert detail here</a:t>
            </a:r>
          </a:p>
          <a:p>
            <a:r>
              <a:rPr lang="en-GB"/>
              <a:t> Insert detail her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C4C02"/>
              </a:buClr>
              <a:buSzTx/>
              <a:buFont typeface="+mj-lt"/>
              <a:buAutoNum type="arabicPeriod"/>
              <a:tabLst/>
              <a:defRPr/>
            </a:pPr>
            <a:r>
              <a:rPr lang="en-GB"/>
              <a:t> Insert detail here</a:t>
            </a:r>
            <a:endParaRPr lang="en-GB" b="1">
              <a:solidFill>
                <a:srgbClr val="FC4C02"/>
              </a:solidFill>
              <a:latin typeface="Futura Std Heavy" panose="020B05020202040203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C4C02"/>
              </a:buClr>
              <a:buSzTx/>
              <a:buFont typeface="+mj-lt"/>
              <a:buAutoNum type="arabicPeriod"/>
              <a:tabLst/>
              <a:defRPr/>
            </a:pPr>
            <a:r>
              <a:rPr lang="en-GB"/>
              <a:t> Insert detail here</a:t>
            </a:r>
            <a:endParaRPr lang="en-GB" b="1">
              <a:solidFill>
                <a:srgbClr val="FC4C02"/>
              </a:solidFill>
              <a:latin typeface="Futura Std Heavy" panose="020B0502020204020303" pitchFamily="34" charset="0"/>
            </a:endParaRPr>
          </a:p>
          <a:p>
            <a:endParaRPr lang="en-GB" b="1">
              <a:solidFill>
                <a:srgbClr val="FC4C02"/>
              </a:solidFill>
              <a:latin typeface="Futura Std Heavy" panose="020B0502020204020303" pitchFamily="34" charset="0"/>
            </a:endParaRPr>
          </a:p>
          <a:p>
            <a:endParaRPr lang="en-GB" b="1">
              <a:solidFill>
                <a:srgbClr val="FC4C02"/>
              </a:solidFill>
              <a:latin typeface="Futura Std Heavy" panose="020B0502020204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021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  <p15:guide id="10" orient="horz" pos="104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ingle sub-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wo column text with single sub-header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1F9E92-25E1-154C-B28D-7903B3471807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FA8AE8-738E-7C4F-AD06-FA24CBC750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434" y="2128058"/>
            <a:ext cx="5363134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058FD036-1128-3C49-B4E1-E7AE374070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435" y="1532288"/>
            <a:ext cx="5363133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0D08543-B29C-A34D-9D69-BEA99AC828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3469" y="2128058"/>
            <a:ext cx="5363134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</p:spTree>
    <p:extLst>
      <p:ext uri="{BB962C8B-B14F-4D97-AF65-F5344CB8AC3E}">
        <p14:creationId xmlns:p14="http://schemas.microsoft.com/office/powerpoint/2010/main" val="136637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  <p15:guide id="10" orient="horz" pos="104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double sub-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wo column text with double sub-header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1F9E92-25E1-154C-B28D-7903B3471807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FA8AE8-738E-7C4F-AD06-FA24CBC750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434" y="2128058"/>
            <a:ext cx="5363134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058FD036-1128-3C49-B4E1-E7AE374070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435" y="1532288"/>
            <a:ext cx="5363133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0D08543-B29C-A34D-9D69-BEA99AC828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3469" y="2128058"/>
            <a:ext cx="5363134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686E333E-4F37-3942-89EC-A27D49AF2A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3469" y="1532288"/>
            <a:ext cx="5363134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</p:spTree>
    <p:extLst>
      <p:ext uri="{BB962C8B-B14F-4D97-AF65-F5344CB8AC3E}">
        <p14:creationId xmlns:p14="http://schemas.microsoft.com/office/powerpoint/2010/main" val="2292481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  <p15:guide id="10" orient="horz" pos="104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l">
              <a:tabLst>
                <a:tab pos="4475163" algn="l"/>
              </a:tabLst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ingle column image and caption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3F85C71-A044-F941-B5CF-E0F76D800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9752" y="1621789"/>
            <a:ext cx="11091386" cy="37731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416E63-D0B9-1744-B02C-A375D6BA1841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4F3182BB-A82D-B841-BC56-72C95B18DF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2262" y="5537589"/>
            <a:ext cx="5363134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1694060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l">
              <a:tabLst>
                <a:tab pos="4475163" algn="l"/>
              </a:tabLst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wo column image and caption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3F85C71-A044-F941-B5CF-E0F76D800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9751" y="1621789"/>
            <a:ext cx="5280239" cy="37731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416E63-D0B9-1744-B02C-A375D6BA1841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4F3182BB-A82D-B841-BC56-72C95B18DF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312" y="5537589"/>
            <a:ext cx="5454574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Caption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EE1E58D-E562-2E40-8AAC-E6470293D677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393366" y="1621789"/>
            <a:ext cx="5280240" cy="37731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521566E0-3A90-6048-A1D6-1D54BDC59B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1024" y="5537589"/>
            <a:ext cx="5454574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1741406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12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l">
              <a:tabLst>
                <a:tab pos="4475163" algn="l"/>
              </a:tabLst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wo column image an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416E63-D0B9-1744-B02C-A375D6BA1841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D9E2808-95D4-6948-A290-77195325C4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3469" y="2128058"/>
            <a:ext cx="5363134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4F3182BB-A82D-B841-BC56-72C95B18DF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3469" y="1532288"/>
            <a:ext cx="5363134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2C73753-8021-7E41-9A55-2F1F09F5BF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9751" y="1621789"/>
            <a:ext cx="5280239" cy="37731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5F0A334-0531-024E-9BD2-2B628B14BF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8312" y="5537589"/>
            <a:ext cx="5454574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2625471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tacked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wo column stacked images and tex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3F85C71-A044-F941-B5CF-E0F76D800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9752" y="1621790"/>
            <a:ext cx="2651009" cy="1959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416E63-D0B9-1744-B02C-A375D6BA1841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987C9B3-6B81-5642-90FE-37F25315808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549752" y="3816350"/>
            <a:ext cx="2651009" cy="1959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8133A77D-DF29-FC46-BC89-DCE77D50CD70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444991" y="1621790"/>
            <a:ext cx="2651009" cy="1959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904C19D-4C90-DC42-96D8-7456A22B0E8D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444991" y="3816350"/>
            <a:ext cx="2651009" cy="1959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D9E2808-95D4-6948-A290-77195325C4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3469" y="2128058"/>
            <a:ext cx="5363134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4F3182BB-A82D-B841-BC56-72C95B18DF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3469" y="1532288"/>
            <a:ext cx="5363134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</p:spTree>
    <p:extLst>
      <p:ext uri="{BB962C8B-B14F-4D97-AF65-F5344CB8AC3E}">
        <p14:creationId xmlns:p14="http://schemas.microsoft.com/office/powerpoint/2010/main" val="1608754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ingle column table</a:t>
            </a:r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C409D43-5D6A-094C-8E2F-3501EAF379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0862" y="2128057"/>
            <a:ext cx="11090275" cy="364091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 b="0" i="0">
                <a:latin typeface="Futura Std Light" panose="020B0402020204020303" pitchFamily="34" charset="0"/>
              </a:defRPr>
            </a:lvl2pPr>
            <a:lvl3pPr>
              <a:defRPr sz="1800" b="0" i="0">
                <a:latin typeface="Futura Std Light" panose="020B0402020204020303" pitchFamily="34" charset="0"/>
              </a:defRPr>
            </a:lvl3pPr>
            <a:lvl4pPr>
              <a:defRPr sz="1800" b="0" i="0">
                <a:latin typeface="Futura Std Light" panose="020B0402020204020303" pitchFamily="34" charset="0"/>
              </a:defRPr>
            </a:lvl4pPr>
            <a:lvl5pPr>
              <a:defRPr sz="18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047850-AD14-D940-A8B8-B0934341B531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C126807-EA45-A047-A219-4FDAB6F661E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435" y="1532288"/>
            <a:ext cx="5638566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</p:spTree>
    <p:extLst>
      <p:ext uri="{BB962C8B-B14F-4D97-AF65-F5344CB8AC3E}">
        <p14:creationId xmlns:p14="http://schemas.microsoft.com/office/powerpoint/2010/main" val="3788069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0501" y="1427440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 b="1" i="0">
                <a:solidFill>
                  <a:srgbClr val="12233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section header her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C5EB33-F780-7945-8AA9-59D445CB20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0501" y="4052770"/>
            <a:ext cx="9144000" cy="7874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Insert subtitle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928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ingle column graph</a:t>
            </a:r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C409D43-5D6A-094C-8E2F-3501EAF379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0862" y="2128057"/>
            <a:ext cx="11090276" cy="3640917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 b="0" i="0">
                <a:latin typeface="Futura Std Light" panose="020B0402020204020303" pitchFamily="34" charset="0"/>
              </a:defRPr>
            </a:lvl2pPr>
            <a:lvl3pPr>
              <a:defRPr sz="1800" b="0" i="0">
                <a:latin typeface="Futura Std Light" panose="020B0402020204020303" pitchFamily="34" charset="0"/>
              </a:defRPr>
            </a:lvl3pPr>
            <a:lvl4pPr>
              <a:defRPr sz="1800" b="0" i="0">
                <a:latin typeface="Futura Std Light" panose="020B0402020204020303" pitchFamily="34" charset="0"/>
              </a:defRPr>
            </a:lvl4pPr>
            <a:lvl5pPr>
              <a:defRPr sz="18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047850-AD14-D940-A8B8-B0934341B531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073E33C7-0170-9A4A-9C46-A398E35735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435" y="1532288"/>
            <a:ext cx="5638566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</p:spTree>
    <p:extLst>
      <p:ext uri="{BB962C8B-B14F-4D97-AF65-F5344CB8AC3E}">
        <p14:creationId xmlns:p14="http://schemas.microsoft.com/office/powerpoint/2010/main" val="1996479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able/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wo column table/chart and tex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3F85C71-A044-F941-B5CF-E0F76D800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5396" y="2128057"/>
            <a:ext cx="5275171" cy="364091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416E63-D0B9-1744-B02C-A375D6BA1841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D26DEF4-4DE2-1A45-A1CE-86BD954035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435" y="1532288"/>
            <a:ext cx="5638566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94F6278B-2B1F-704D-9198-2CC38520CF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3469" y="2128058"/>
            <a:ext cx="5363134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</p:spTree>
    <p:extLst>
      <p:ext uri="{BB962C8B-B14F-4D97-AF65-F5344CB8AC3E}">
        <p14:creationId xmlns:p14="http://schemas.microsoft.com/office/powerpoint/2010/main" val="2504601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tacked table/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wo column stacked table/chart and tex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3F85C71-A044-F941-B5CF-E0F76D800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0862" y="1628775"/>
            <a:ext cx="5269705" cy="236978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416E63-D0B9-1744-B02C-A375D6BA1841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D26DEF4-4DE2-1A45-A1CE-86BD954035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8003" y="1532288"/>
            <a:ext cx="5363135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878731A-2F21-D049-A8EA-F4430BA4EA6F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550862" y="4277532"/>
            <a:ext cx="5269705" cy="149144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9E0BD7A2-A3FC-C94E-8C56-C0395A0A65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3469" y="2128058"/>
            <a:ext cx="5363134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</p:spTree>
    <p:extLst>
      <p:ext uri="{BB962C8B-B14F-4D97-AF65-F5344CB8AC3E}">
        <p14:creationId xmlns:p14="http://schemas.microsoft.com/office/powerpoint/2010/main" val="3237993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stacked tab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ingle column stacked table and char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3F85C71-A044-F941-B5CF-E0F76D800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0862" y="1628775"/>
            <a:ext cx="11090275" cy="236978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416E63-D0B9-1744-B02C-A375D6BA1841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878731A-2F21-D049-A8EA-F4430BA4EA6F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550862" y="4277532"/>
            <a:ext cx="11090275" cy="149144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84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stacked table/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ingle column stacked table/chart an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416E63-D0B9-1744-B02C-A375D6BA1841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73B5407-337B-D946-BFCC-6CAF616244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0862" y="2128057"/>
            <a:ext cx="11090276" cy="235117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602977C6-D0DB-8349-A422-B914A7694C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435" y="1532288"/>
            <a:ext cx="5638565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316DB98F-1FA4-0144-BAE9-236AB0AC31B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434" y="4612233"/>
            <a:ext cx="11183704" cy="1156742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</p:spTree>
    <p:extLst>
      <p:ext uri="{BB962C8B-B14F-4D97-AF65-F5344CB8AC3E}">
        <p14:creationId xmlns:p14="http://schemas.microsoft.com/office/powerpoint/2010/main" val="50207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and table/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wo column text and table/char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28D5731-7D90-8D46-8B75-10AB1943C5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278002" y="2128057"/>
            <a:ext cx="5363136" cy="3640918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0" i="0">
                <a:latin typeface="Futura Std Light" panose="020B0402020204020303" pitchFamily="34" charset="0"/>
              </a:defRPr>
            </a:lvl2pPr>
            <a:lvl3pPr>
              <a:defRPr sz="1400" b="0" i="0">
                <a:latin typeface="Futura Std Light" panose="020B0402020204020303" pitchFamily="34" charset="0"/>
              </a:defRPr>
            </a:lvl3pPr>
            <a:lvl4pPr>
              <a:defRPr sz="1200" b="0" i="0">
                <a:latin typeface="Futura Std Light" panose="020B0402020204020303" pitchFamily="34" charset="0"/>
              </a:defRPr>
            </a:lvl4pPr>
            <a:lvl5pPr>
              <a:defRPr sz="1000" b="0" i="0">
                <a:latin typeface="Futura Std Light" panose="020B0402020204020303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416E63-D0B9-1744-B02C-A375D6BA1841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DBF8BF43-30BE-4C44-8FAE-BD7DC2EEE8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435" y="1532288"/>
            <a:ext cx="5638565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86DC549F-FFBA-C744-A402-34DCD9C4E3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72436" y="1532288"/>
            <a:ext cx="5638565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DEEA670D-7440-3C4D-B4C2-24441B1169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434" y="2128058"/>
            <a:ext cx="5363134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</p:spTree>
    <p:extLst>
      <p:ext uri="{BB962C8B-B14F-4D97-AF65-F5344CB8AC3E}">
        <p14:creationId xmlns:p14="http://schemas.microsoft.com/office/powerpoint/2010/main" val="3998336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91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ingle column text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1F9E92-25E1-154C-B28D-7903B3471807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FA8AE8-738E-7C4F-AD06-FA24CBC750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433" y="1567314"/>
            <a:ext cx="9418087" cy="420166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</p:spTree>
    <p:extLst>
      <p:ext uri="{BB962C8B-B14F-4D97-AF65-F5344CB8AC3E}">
        <p14:creationId xmlns:p14="http://schemas.microsoft.com/office/powerpoint/2010/main" val="3897319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  <p15:guide id="10" orient="horz" pos="104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 with sub-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ingle column text with sub-header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1F9E92-25E1-154C-B28D-7903B3471807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FA8AE8-738E-7C4F-AD06-FA24CBC750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433" y="2128058"/>
            <a:ext cx="9418087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058FD036-1128-3C49-B4E1-E7AE374070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435" y="1532288"/>
            <a:ext cx="5638566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</p:spTree>
    <p:extLst>
      <p:ext uri="{BB962C8B-B14F-4D97-AF65-F5344CB8AC3E}">
        <p14:creationId xmlns:p14="http://schemas.microsoft.com/office/powerpoint/2010/main" val="2856782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  <p15:guide id="10" orient="horz" pos="104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ntents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6243DE1-CD62-A84C-9ED9-FD23C88CAA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06538"/>
            <a:ext cx="11183938" cy="4262437"/>
          </a:xfrm>
          <a:prstGeom prst="rect">
            <a:avLst/>
          </a:prstGeom>
        </p:spPr>
        <p:txBody>
          <a:bodyPr anchor="ctr" anchorCtr="0"/>
          <a:lstStyle>
            <a:lvl1pPr marL="457200" marR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C4C02"/>
              </a:buClr>
              <a:buSzTx/>
              <a:buFont typeface="+mj-lt"/>
              <a:buAutoNum type="arabicPeriod"/>
              <a:tabLst/>
              <a:defRPr sz="2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indent="-457200">
              <a:buFont typeface="+mj-lt"/>
              <a:buAutoNum type="arabicPeriod"/>
              <a:defRPr/>
            </a:lvl2pPr>
            <a:lvl3pPr marL="1371600" indent="-457200">
              <a:buFont typeface="+mj-lt"/>
              <a:buAutoNum type="arabicPeriod"/>
              <a:defRPr/>
            </a:lvl3pPr>
            <a:lvl4pPr marL="1714500" indent="-342900">
              <a:buFont typeface="+mj-lt"/>
              <a:buAutoNum type="arabicPeriod"/>
              <a:defRPr/>
            </a:lvl4pPr>
            <a:lvl5pPr marL="2171700" indent="-342900">
              <a:buFont typeface="+mj-lt"/>
              <a:buAutoNum type="arabicPeriod"/>
              <a:defRPr/>
            </a:lvl5pPr>
          </a:lstStyle>
          <a:p>
            <a:pPr marL="457200" indent="-457200">
              <a:buClr>
                <a:srgbClr val="FC4C02"/>
              </a:buClr>
              <a:buFont typeface="+mj-lt"/>
              <a:buAutoNum type="arabicPeriod"/>
            </a:pPr>
            <a:r>
              <a:rPr lang="en-US"/>
              <a:t>Insert section title here</a:t>
            </a:r>
          </a:p>
          <a:p>
            <a:pPr marL="457200" indent="-457200">
              <a:buClr>
                <a:srgbClr val="FC4C02"/>
              </a:buClr>
              <a:buFont typeface="+mj-lt"/>
              <a:buAutoNum type="arabicPeriod"/>
            </a:pPr>
            <a:r>
              <a:rPr lang="en-US"/>
              <a:t>Insert section title here</a:t>
            </a:r>
          </a:p>
          <a:p>
            <a:pPr marL="457200" indent="-457200">
              <a:buClr>
                <a:srgbClr val="FC4C02"/>
              </a:buClr>
              <a:buFont typeface="+mj-lt"/>
              <a:buAutoNum type="arabicPeriod"/>
            </a:pPr>
            <a:r>
              <a:rPr lang="en-US"/>
              <a:t>Insert section title here</a:t>
            </a:r>
          </a:p>
          <a:p>
            <a:pPr marL="457200" indent="-457200">
              <a:buClr>
                <a:srgbClr val="FC4C02"/>
              </a:buClr>
              <a:buFont typeface="+mj-lt"/>
              <a:buAutoNum type="arabicPeriod"/>
            </a:pPr>
            <a:r>
              <a:rPr lang="en-US"/>
              <a:t>Insert section title here</a:t>
            </a:r>
          </a:p>
          <a:p>
            <a:pPr marL="514350" marR="0" lvl="0" indent="-5143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GB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8B33630-7355-2645-BF77-C0F8017F7798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443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0501" y="1427440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 b="1" i="0">
                <a:solidFill>
                  <a:srgbClr val="12233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Insert section header her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C5EB33-F780-7945-8AA9-59D445CB20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0501" y="4052770"/>
            <a:ext cx="9144000" cy="7874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Insert subtitle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890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ingle column text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1F9E92-25E1-154C-B28D-7903B3471807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FA8AE8-738E-7C4F-AD06-FA24CBC750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433" y="1567314"/>
            <a:ext cx="9418087" cy="420166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</p:spTree>
    <p:extLst>
      <p:ext uri="{BB962C8B-B14F-4D97-AF65-F5344CB8AC3E}">
        <p14:creationId xmlns:p14="http://schemas.microsoft.com/office/powerpoint/2010/main" val="501203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  <p15:guide id="10" orient="horz" pos="104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 with sub-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ingle column text with sub-header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1F9E92-25E1-154C-B28D-7903B3471807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FA8AE8-738E-7C4F-AD06-FA24CBC750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433" y="2128058"/>
            <a:ext cx="9418087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058FD036-1128-3C49-B4E1-E7AE374070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435" y="1532288"/>
            <a:ext cx="5638566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</p:spTree>
    <p:extLst>
      <p:ext uri="{BB962C8B-B14F-4D97-AF65-F5344CB8AC3E}">
        <p14:creationId xmlns:p14="http://schemas.microsoft.com/office/powerpoint/2010/main" val="1324711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  <p15:guide id="10" orient="horz" pos="104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text with sub-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203B-754B-F74A-9783-FAEDC112B1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434" y="0"/>
            <a:ext cx="7542914" cy="10890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ingle column text with sub-header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1F9E92-25E1-154C-B28D-7903B3471807}"/>
              </a:ext>
            </a:extLst>
          </p:cNvPr>
          <p:cNvSpPr txBox="1"/>
          <p:nvPr userDrawn="1"/>
        </p:nvSpPr>
        <p:spPr>
          <a:xfrm>
            <a:off x="9875520" y="6444862"/>
            <a:ext cx="1859280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1531A474-D133-E94F-A4F8-06064AF57A00}" type="slidenum">
              <a:rPr lang="en-US" sz="1200" b="0" i="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2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FA8AE8-738E-7C4F-AD06-FA24CBC750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433" y="2128058"/>
            <a:ext cx="9418087" cy="36409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body text here. Try to break large bits of text into sections to make it easier to read and </a:t>
            </a:r>
            <a:r>
              <a:rPr lang="en-GB" b="1"/>
              <a:t>use Arial Bold in black </a:t>
            </a:r>
            <a:r>
              <a:rPr lang="en-GB" b="1">
                <a:solidFill>
                  <a:srgbClr val="FC4C02"/>
                </a:solidFill>
              </a:rPr>
              <a:t>or colour to highlight key phras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058FD036-1128-3C49-B4E1-E7AE374070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435" y="1532288"/>
            <a:ext cx="5638566" cy="462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>
                <a:latin typeface="Futura Std Light" panose="020B0402020204020303" pitchFamily="34" charset="0"/>
              </a:defRPr>
            </a:lvl2pPr>
            <a:lvl3pPr marL="914400" indent="0">
              <a:buNone/>
              <a:defRPr sz="1400" b="0" i="0">
                <a:latin typeface="Futura Std Light" panose="020B0402020204020303" pitchFamily="34" charset="0"/>
              </a:defRPr>
            </a:lvl3pPr>
            <a:lvl4pPr marL="1371600" indent="0">
              <a:buNone/>
              <a:defRPr sz="1400" b="0" i="0">
                <a:latin typeface="Futura Std Light" panose="020B0402020204020303" pitchFamily="34" charset="0"/>
              </a:defRPr>
            </a:lvl4pPr>
            <a:lvl5pPr marL="1828800" indent="0">
              <a:buNone/>
              <a:defRPr sz="1400" b="0" i="0">
                <a:latin typeface="Futura Std Light" panose="020B0402020204020303" pitchFamily="34" charset="0"/>
              </a:defRPr>
            </a:lvl5pPr>
          </a:lstStyle>
          <a:p>
            <a:pPr lvl="0"/>
            <a:r>
              <a:rPr lang="en-GB"/>
              <a:t>Sub-header here</a:t>
            </a:r>
          </a:p>
        </p:txBody>
      </p:sp>
    </p:spTree>
    <p:extLst>
      <p:ext uri="{BB962C8B-B14F-4D97-AF65-F5344CB8AC3E}">
        <p14:creationId xmlns:p14="http://schemas.microsoft.com/office/powerpoint/2010/main" val="185773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88">
          <p15:clr>
            <a:srgbClr val="FBAE40"/>
          </p15:clr>
        </p15:guide>
        <p15:guide id="4" orient="horz" pos="3634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pos="6992">
          <p15:clr>
            <a:srgbClr val="FBAE40"/>
          </p15:clr>
        </p15:guide>
        <p15:guide id="7" pos="347">
          <p15:clr>
            <a:srgbClr val="FBAE40"/>
          </p15:clr>
        </p15:guide>
        <p15:guide id="8" pos="7333">
          <p15:clr>
            <a:srgbClr val="FBAE40"/>
          </p15:clr>
        </p15:guide>
        <p15:guide id="9" orient="horz" pos="3974">
          <p15:clr>
            <a:srgbClr val="FBAE40"/>
          </p15:clr>
        </p15:guide>
        <p15:guide id="10" orient="horz" pos="104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1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8.xml"/><Relationship Id="rId19" Type="http://schemas.openxmlformats.org/officeDocument/2006/relationships/vmlDrawing" Target="../drawings/vmlDrawing3.v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81BCC65-00EE-4E17-BF6B-24B97C8145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9782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81BCC65-00EE-4E17-BF6B-24B97C814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389FF29-C544-C04B-83B2-7B5A1CC17E50}"/>
              </a:ext>
            </a:extLst>
          </p:cNvPr>
          <p:cNvSpPr/>
          <p:nvPr userDrawn="1"/>
        </p:nvSpPr>
        <p:spPr>
          <a:xfrm flipV="1">
            <a:off x="0" y="0"/>
            <a:ext cx="12192000" cy="1089025"/>
          </a:xfrm>
          <a:prstGeom prst="rect">
            <a:avLst/>
          </a:prstGeom>
          <a:solidFill>
            <a:srgbClr val="1223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8">
            <a:extLst>
              <a:ext uri="{FF2B5EF4-FFF2-40B4-BE49-F238E27FC236}">
                <a16:creationId xmlns:a16="http://schemas.microsoft.com/office/drawing/2014/main" id="{B5EE9874-4055-D840-B850-CBD1C5B69EC5}"/>
              </a:ext>
            </a:extLst>
          </p:cNvPr>
          <p:cNvSpPr txBox="1">
            <a:spLocks/>
          </p:cNvSpPr>
          <p:nvPr userDrawn="1"/>
        </p:nvSpPr>
        <p:spPr>
          <a:xfrm>
            <a:off x="4038600" y="6308725"/>
            <a:ext cx="4114800" cy="549275"/>
          </a:xfrm>
          <a:prstGeom prst="rect">
            <a:avLst/>
          </a:prstGeom>
        </p:spPr>
        <p:txBody>
          <a:bodyPr anchor="ctr" anchorCtr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5E760B-84F8-8A43-AE19-7684AC136BC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9927773" y="367700"/>
            <a:ext cx="1686291" cy="39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843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81BCC65-00EE-4E17-BF6B-24B97C8145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21177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81BCC65-00EE-4E17-BF6B-24B97C814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389FF29-C544-C04B-83B2-7B5A1CC17E50}"/>
              </a:ext>
            </a:extLst>
          </p:cNvPr>
          <p:cNvSpPr/>
          <p:nvPr userDrawn="1"/>
        </p:nvSpPr>
        <p:spPr>
          <a:xfrm flipV="1">
            <a:off x="0" y="0"/>
            <a:ext cx="12192000" cy="1089025"/>
          </a:xfrm>
          <a:prstGeom prst="rect">
            <a:avLst/>
          </a:prstGeom>
          <a:solidFill>
            <a:srgbClr val="1223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8">
            <a:extLst>
              <a:ext uri="{FF2B5EF4-FFF2-40B4-BE49-F238E27FC236}">
                <a16:creationId xmlns:a16="http://schemas.microsoft.com/office/drawing/2014/main" id="{B5EE9874-4055-D840-B850-CBD1C5B69EC5}"/>
              </a:ext>
            </a:extLst>
          </p:cNvPr>
          <p:cNvSpPr txBox="1">
            <a:spLocks/>
          </p:cNvSpPr>
          <p:nvPr userDrawn="1"/>
        </p:nvSpPr>
        <p:spPr>
          <a:xfrm>
            <a:off x="4038600" y="6308725"/>
            <a:ext cx="4114800" cy="549275"/>
          </a:xfrm>
          <a:prstGeom prst="rect">
            <a:avLst/>
          </a:prstGeom>
        </p:spPr>
        <p:txBody>
          <a:bodyPr anchor="ctr" anchorCtr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5E760B-84F8-8A43-AE19-7684AC136BC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9927773" y="367700"/>
            <a:ext cx="1686291" cy="39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897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AC46BD-9B64-4822-AFE6-F4E8A37007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9771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1" imgW="416" imgH="416" progId="TCLayout.ActiveDocument.1">
                  <p:embed/>
                </p:oleObj>
              </mc:Choice>
              <mc:Fallback>
                <p:oleObj name="think-cell Slide" r:id="rId21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AC46BD-9B64-4822-AFE6-F4E8A37007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389FF29-C544-C04B-83B2-7B5A1CC17E50}"/>
              </a:ext>
            </a:extLst>
          </p:cNvPr>
          <p:cNvSpPr/>
          <p:nvPr userDrawn="1"/>
        </p:nvSpPr>
        <p:spPr>
          <a:xfrm flipV="1">
            <a:off x="0" y="0"/>
            <a:ext cx="12192000" cy="1089025"/>
          </a:xfrm>
          <a:prstGeom prst="rect">
            <a:avLst/>
          </a:prstGeom>
          <a:solidFill>
            <a:srgbClr val="12233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27">
            <a:extLst>
              <a:ext uri="{FF2B5EF4-FFF2-40B4-BE49-F238E27FC236}">
                <a16:creationId xmlns:a16="http://schemas.microsoft.com/office/drawing/2014/main" id="{9194EA4C-8A7D-A149-A5B3-0B031EED547D}"/>
              </a:ext>
            </a:extLst>
          </p:cNvPr>
          <p:cNvSpPr txBox="1">
            <a:spLocks/>
          </p:cNvSpPr>
          <p:nvPr userDrawn="1"/>
        </p:nvSpPr>
        <p:spPr>
          <a:xfrm>
            <a:off x="4041775" y="6308724"/>
            <a:ext cx="4098925" cy="549275"/>
          </a:xfrm>
          <a:prstGeom prst="rect">
            <a:avLst/>
          </a:prstGeom>
        </p:spPr>
        <p:txBody>
          <a:bodyPr anchor="ctr" anchorCtr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789B93-6E38-3F49-8459-26FC772A302E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rcRect/>
          <a:stretch/>
        </p:blipFill>
        <p:spPr>
          <a:xfrm>
            <a:off x="9927773" y="367700"/>
            <a:ext cx="1686291" cy="39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154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10.xml"/><Relationship Id="rId7" Type="http://schemas.openxmlformats.org/officeDocument/2006/relationships/diagramData" Target="../diagrams/data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6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9.xml"/><Relationship Id="rId9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395C42-2FEE-46A7-B4C6-479011AB8A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494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395C42-2FEE-46A7-B4C6-479011AB8A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8E401B1-2392-4508-B58D-BA8394B856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02BEAA-566C-1C46-BD6A-6F0DD9306B0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stribution Platform</a:t>
            </a:r>
          </a:p>
        </p:txBody>
      </p:sp>
      <p:sp>
        <p:nvSpPr>
          <p:cNvPr id="11" name="Shape 4">
            <a:extLst>
              <a:ext uri="{FF2B5EF4-FFF2-40B4-BE49-F238E27FC236}">
                <a16:creationId xmlns:a16="http://schemas.microsoft.com/office/drawing/2014/main" id="{6E500C16-316C-478C-A907-368E72C37972}"/>
              </a:ext>
            </a:extLst>
          </p:cNvPr>
          <p:cNvSpPr txBox="1"/>
          <p:nvPr/>
        </p:nvSpPr>
        <p:spPr>
          <a:xfrm>
            <a:off x="5557933" y="2894231"/>
            <a:ext cx="1076134" cy="106953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3180" tIns="43180" rIns="43180" bIns="43180" numCol="1" spcCol="1270" anchor="ctr" anchorCtr="0">
            <a:noAutofit/>
          </a:bodyPr>
          <a:lstStyle/>
          <a:p>
            <a:pPr marL="0" marR="0" lvl="0" indent="0" algn="ctr" defTabSz="1511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3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EAD888-1D3E-4EC1-BC14-E56EAFDD74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677" y="1194740"/>
            <a:ext cx="11378035" cy="5283552"/>
          </a:xfrm>
        </p:spPr>
        <p:txBody>
          <a:bodyPr/>
          <a:lstStyle/>
          <a:p>
            <a:pPr algn="ctr">
              <a:spcBef>
                <a:spcPts val="1400"/>
              </a:spcBef>
              <a:defRPr/>
            </a:pPr>
            <a:r>
              <a:rPr lang="en-US" b="1" dirty="0">
                <a:solidFill>
                  <a:srgbClr val="FC4C02"/>
                </a:solidFill>
              </a:rPr>
              <a:t>Objective: Grow the business – Achieve targets</a:t>
            </a:r>
          </a:p>
          <a:p>
            <a:pPr>
              <a:spcBef>
                <a:spcPts val="1400"/>
              </a:spcBef>
              <a:defRPr/>
            </a:pPr>
            <a:endParaRPr lang="en-US" b="1" dirty="0">
              <a:solidFill>
                <a:srgbClr val="FC4C02"/>
              </a:solidFill>
            </a:endParaRPr>
          </a:p>
          <a:p>
            <a:pPr>
              <a:spcBef>
                <a:spcPts val="1400"/>
              </a:spcBef>
              <a:defRPr/>
            </a:pPr>
            <a:r>
              <a:rPr lang="en-US" b="1" dirty="0">
                <a:solidFill>
                  <a:srgbClr val="FC4C02"/>
                </a:solidFill>
              </a:rPr>
              <a:t>E6 Platform: Vision</a:t>
            </a:r>
          </a:p>
          <a:p>
            <a:pPr marL="342900" lvl="0" indent="-342900">
              <a:spcBef>
                <a:spcPts val="1400"/>
              </a:spcBef>
              <a:buFont typeface="Arial" panose="020B0604020202020204" pitchFamily="34" charset="0"/>
              <a:buChar char="•"/>
              <a:defRPr/>
            </a:pPr>
            <a:r>
              <a:rPr lang="en-US" dirty="0"/>
              <a:t>The Element Six Platform provides an unlimited knowledge base, makes all relevant information available on a daily basis and answers all questions immediately, 24 hours a day and 7 days a week.</a:t>
            </a:r>
            <a:br>
              <a:rPr lang="en-US" dirty="0"/>
            </a:br>
            <a:r>
              <a:rPr lang="en-US" dirty="0"/>
              <a:t>It supports the development towards a value added distribution with a clear focus on our customers and their needs worldwide.</a:t>
            </a:r>
            <a:endParaRPr lang="en-GB" dirty="0"/>
          </a:p>
          <a:p>
            <a:pPr lvl="0">
              <a:spcBef>
                <a:spcPts val="1400"/>
              </a:spcBef>
              <a:defRPr/>
            </a:pPr>
            <a:endParaRPr lang="en-US" b="1" dirty="0">
              <a:solidFill>
                <a:srgbClr val="FC4C02"/>
              </a:solidFill>
            </a:endParaRPr>
          </a:p>
          <a:p>
            <a:pPr lvl="0">
              <a:spcBef>
                <a:spcPts val="1400"/>
              </a:spcBef>
              <a:defRPr/>
            </a:pPr>
            <a:r>
              <a:rPr lang="en-US" b="1" dirty="0">
                <a:solidFill>
                  <a:srgbClr val="FC4C02"/>
                </a:solidFill>
              </a:rPr>
              <a:t>E6 Platform: Mission</a:t>
            </a:r>
          </a:p>
          <a:p>
            <a:pPr marL="68263" indent="-342900">
              <a:spcBef>
                <a:spcPts val="1400"/>
              </a:spcBef>
              <a:buFont typeface="Arial" panose="020B0604020202020204" pitchFamily="34" charset="0"/>
              <a:buChar char="•"/>
            </a:pPr>
            <a:r>
              <a:rPr lang="en-US" dirty="0"/>
              <a:t>Provide Distributors and customers with the information they need, at any time</a:t>
            </a:r>
          </a:p>
          <a:p>
            <a:pPr marL="68263" indent="-342900">
              <a:spcBef>
                <a:spcPts val="1400"/>
              </a:spcBef>
              <a:buFont typeface="Arial" panose="020B0604020202020204" pitchFamily="34" charset="0"/>
              <a:buChar char="•"/>
            </a:pPr>
            <a:r>
              <a:rPr lang="en-US" dirty="0"/>
              <a:t>Improve/ Streamline our internal processes</a:t>
            </a:r>
          </a:p>
          <a:p>
            <a:pPr marL="68263" indent="-342900">
              <a:spcBef>
                <a:spcPts val="1400"/>
              </a:spcBef>
              <a:buFont typeface="Arial" panose="020B0604020202020204" pitchFamily="34" charset="0"/>
              <a:buChar char="•"/>
            </a:pPr>
            <a:r>
              <a:rPr lang="en-US" dirty="0"/>
              <a:t>Self-service Platform and changing Distributor </a:t>
            </a:r>
            <a:r>
              <a:rPr lang="en-IE" dirty="0"/>
              <a:t>behaviour</a:t>
            </a:r>
          </a:p>
          <a:p>
            <a:pPr lvl="1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en-GB" b="1" dirty="0">
              <a:solidFill>
                <a:srgbClr val="FC4C0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7029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26C1146-A7BC-4C36-AB09-C4178A8116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0400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26C1146-A7BC-4C36-AB09-C4178A811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0588D4-6ACB-4AF4-9235-FFEDBFD9873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02BEAA-566C-1C46-BD6A-6F0DD9306B0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M Work Stream: Distributor Platform: examp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F1C090-DB98-3C4D-8410-44CF0263B9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1195902"/>
            <a:ext cx="3798277" cy="1384459"/>
          </a:xfrm>
        </p:spPr>
        <p:txBody>
          <a:bodyPr/>
          <a:lstStyle/>
          <a:p>
            <a:pPr lvl="0">
              <a:spcBef>
                <a:spcPts val="1400"/>
              </a:spcBef>
              <a:defRPr/>
            </a:pPr>
            <a:r>
              <a:rPr lang="en-US" sz="1800" b="1" dirty="0">
                <a:solidFill>
                  <a:srgbClr val="FC4C02"/>
                </a:solidFill>
              </a:rPr>
              <a:t>Customer/Distributor login to ensure security is adhered t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03FFAD-0CF7-4609-A7FD-9BC42B40317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02" t="4127" r="11957" b="2931"/>
          <a:stretch/>
        </p:blipFill>
        <p:spPr>
          <a:xfrm>
            <a:off x="4478394" y="1680710"/>
            <a:ext cx="7532002" cy="45136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62B87DA-D46D-437A-91D6-619F11EA9B2B}"/>
              </a:ext>
            </a:extLst>
          </p:cNvPr>
          <p:cNvSpPr txBox="1">
            <a:spLocks/>
          </p:cNvSpPr>
          <p:nvPr/>
        </p:nvSpPr>
        <p:spPr>
          <a:xfrm>
            <a:off x="0" y="2039614"/>
            <a:ext cx="6826771" cy="379588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Futura Std Light" panose="020B04020202040203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tform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les &amp; Marketing Collateral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 Library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ventory Enquiry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der Entry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ment Six New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ment Six Contacts, per distributor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equently Asked Questions (FAQ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racts via E Signature &amp; Workflow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cing Enhancements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FC4C0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F9613B2-4B1D-41A9-9D8F-3F442E1DB022}"/>
              </a:ext>
            </a:extLst>
          </p:cNvPr>
          <p:cNvGrpSpPr/>
          <p:nvPr/>
        </p:nvGrpSpPr>
        <p:grpSpPr>
          <a:xfrm>
            <a:off x="3413385" y="1447929"/>
            <a:ext cx="1390143" cy="2595224"/>
            <a:chOff x="4783068" y="1504401"/>
            <a:chExt cx="2221137" cy="456184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CA75AA4-F693-4DB0-A097-D6E1F1B07328}"/>
                </a:ext>
              </a:extLst>
            </p:cNvPr>
            <p:cNvGrpSpPr/>
            <p:nvPr/>
          </p:nvGrpSpPr>
          <p:grpSpPr>
            <a:xfrm>
              <a:off x="4783068" y="1504401"/>
              <a:ext cx="2221137" cy="4561840"/>
              <a:chOff x="1165272" y="1279296"/>
              <a:chExt cx="2221137" cy="4561840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D310140F-C706-4E4B-B775-B6F6A0319DEC}"/>
                  </a:ext>
                </a:extLst>
              </p:cNvPr>
              <p:cNvGrpSpPr/>
              <p:nvPr/>
            </p:nvGrpSpPr>
            <p:grpSpPr>
              <a:xfrm>
                <a:off x="1165272" y="1279296"/>
                <a:ext cx="2221137" cy="4561840"/>
                <a:chOff x="3739073" y="951230"/>
                <a:chExt cx="1665853" cy="3421380"/>
              </a:xfrm>
            </p:grpSpPr>
            <p:pic>
              <p:nvPicPr>
                <p:cNvPr id="16" name="Picture 15">
                  <a:extLst>
                    <a:ext uri="{FF2B5EF4-FFF2-40B4-BE49-F238E27FC236}">
                      <a16:creationId xmlns:a16="http://schemas.microsoft.com/office/drawing/2014/main" id="{39323533-CE7D-435F-A0A0-C6F5865801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39073" y="951230"/>
                  <a:ext cx="1665853" cy="3421380"/>
                </a:xfrm>
                <a:prstGeom prst="rect">
                  <a:avLst/>
                </a:prstGeom>
                <a:ln>
                  <a:noFill/>
                </a:ln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p:spPr>
            </p:pic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2E71872E-544B-45D5-AB56-7F18FF63B677}"/>
                    </a:ext>
                  </a:extLst>
                </p:cNvPr>
                <p:cNvSpPr/>
                <p:nvPr/>
              </p:nvSpPr>
              <p:spPr>
                <a:xfrm>
                  <a:off x="3850640" y="1361440"/>
                  <a:ext cx="1442720" cy="256032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2FD304BE-633F-4867-B66D-C34CD91373A0}"/>
                  </a:ext>
                </a:extLst>
              </p:cNvPr>
              <p:cNvSpPr/>
              <p:nvPr/>
            </p:nvSpPr>
            <p:spPr>
              <a:xfrm>
                <a:off x="1314027" y="1825763"/>
                <a:ext cx="1923627" cy="341376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32C6977-A88B-4630-8F5A-0D492BE1316F}"/>
                </a:ext>
              </a:extLst>
            </p:cNvPr>
            <p:cNvGrpSpPr/>
            <p:nvPr/>
          </p:nvGrpSpPr>
          <p:grpSpPr>
            <a:xfrm>
              <a:off x="4931822" y="1928553"/>
              <a:ext cx="1923627" cy="3536075"/>
              <a:chOff x="-4367011" y="-1894115"/>
              <a:chExt cx="7009409" cy="9594661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8E1B304F-57A2-496E-AF31-0EF8A5BEBC4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17411" t="26032" r="25446" b="18730"/>
              <a:stretch/>
            </p:blipFill>
            <p:spPr>
              <a:xfrm>
                <a:off x="-4367010" y="-1894115"/>
                <a:ext cx="6966857" cy="378823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1EDC3A18-9E72-4A38-9B64-7A7F05DF63C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17500" t="33481" r="25357" b="27778"/>
              <a:stretch/>
            </p:blipFill>
            <p:spPr>
              <a:xfrm>
                <a:off x="-4367011" y="1894115"/>
                <a:ext cx="6966857" cy="265684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64CBD7AA-EA16-4D3A-B1FF-897537A1E6A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/>
              <a:srcRect l="17321" t="42529" r="25536" b="11545"/>
              <a:stretch/>
            </p:blipFill>
            <p:spPr>
              <a:xfrm>
                <a:off x="-4324460" y="4550955"/>
                <a:ext cx="6966858" cy="314959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</p:grpSp>
    </p:spTree>
    <p:extLst>
      <p:ext uri="{BB962C8B-B14F-4D97-AF65-F5344CB8AC3E}">
        <p14:creationId xmlns:p14="http://schemas.microsoft.com/office/powerpoint/2010/main" val="13730431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7F371D-A63A-4FCA-A8FB-D521BD53AA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529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7F371D-A63A-4FCA-A8FB-D521BD53AA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4168C07-A58A-4AFE-A5A4-B14277C9D8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02BEAA-566C-1C46-BD6A-6F0DD9306B0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stributor Platform Key areas</a:t>
            </a:r>
          </a:p>
        </p:txBody>
      </p:sp>
      <p:graphicFrame>
        <p:nvGraphicFramePr>
          <p:cNvPr id="20" name="Diagram 19">
            <a:extLst>
              <a:ext uri="{FF2B5EF4-FFF2-40B4-BE49-F238E27FC236}">
                <a16:creationId xmlns:a16="http://schemas.microsoft.com/office/drawing/2014/main" id="{6C08F2E7-1295-42E4-8D81-6FF387A27C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2258094"/>
              </p:ext>
            </p:extLst>
          </p:nvPr>
        </p:nvGraphicFramePr>
        <p:xfrm>
          <a:off x="457434" y="859472"/>
          <a:ext cx="10942086" cy="51390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264302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QlM0t4X3kAGgI0V5JU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wiC7FK63i82815VxRN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B28YwdKRFJCZTu3kli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Contents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Contents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General Slide">
  <a:themeElements>
    <a:clrScheme name="E6 1">
      <a:dk1>
        <a:srgbClr val="000000"/>
      </a:dk1>
      <a:lt1>
        <a:srgbClr val="FFFFFF"/>
      </a:lt1>
      <a:dk2>
        <a:srgbClr val="FC4C02"/>
      </a:dk2>
      <a:lt2>
        <a:srgbClr val="12233A"/>
      </a:lt2>
      <a:accent1>
        <a:srgbClr val="A6A6A6"/>
      </a:accent1>
      <a:accent2>
        <a:srgbClr val="009FDF"/>
      </a:accent2>
      <a:accent3>
        <a:srgbClr val="F6D512"/>
      </a:accent3>
      <a:accent4>
        <a:srgbClr val="6F4993"/>
      </a:accent4>
      <a:accent5>
        <a:srgbClr val="78BE20"/>
      </a:accent5>
      <a:accent6>
        <a:srgbClr val="FFFFFF"/>
      </a:accent6>
      <a:hlink>
        <a:srgbClr val="FC4C02"/>
      </a:hlink>
      <a:folHlink>
        <a:srgbClr val="FC4C0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252CCEDE67454BA40D9E59DF59BB5E" ma:contentTypeVersion="13" ma:contentTypeDescription="Create a new document." ma:contentTypeScope="" ma:versionID="f744db326b76cf4f558cf9c9e8a9c6b8">
  <xsd:schema xmlns:xsd="http://www.w3.org/2001/XMLSchema" xmlns:xs="http://www.w3.org/2001/XMLSchema" xmlns:p="http://schemas.microsoft.com/office/2006/metadata/properties" xmlns:ns3="5907dc6e-45bc-4204-a0c7-256a82f35f4c" xmlns:ns4="055fa51e-0d17-47d0-abc4-de229c8e7e7c" targetNamespace="http://schemas.microsoft.com/office/2006/metadata/properties" ma:root="true" ma:fieldsID="7fd8c3c0103577dcfcf2b23a67d573c2" ns3:_="" ns4:_="">
    <xsd:import namespace="5907dc6e-45bc-4204-a0c7-256a82f35f4c"/>
    <xsd:import namespace="055fa51e-0d17-47d0-abc4-de229c8e7e7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07dc6e-45bc-4204-a0c7-256a82f35f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5fa51e-0d17-47d0-abc4-de229c8e7e7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8692AE-3ABD-44F1-BFDE-343638D8F74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D3BF1BA-1290-4DDA-9F17-C0119A6BFE4B}">
  <ds:schemaRefs>
    <ds:schemaRef ds:uri="http://purl.org/dc/dcmitype/"/>
    <ds:schemaRef ds:uri="5907dc6e-45bc-4204-a0c7-256a82f35f4c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055fa51e-0d17-47d0-abc4-de229c8e7e7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D062784-9817-4515-A8F9-FB281EDDBD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907dc6e-45bc-4204-a0c7-256a82f35f4c"/>
    <ds:schemaRef ds:uri="055fa51e-0d17-47d0-abc4-de229c8e7e7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</TotalTime>
  <Words>174</Words>
  <Application>Microsoft Office PowerPoint</Application>
  <PresentationFormat>Widescreen</PresentationFormat>
  <Paragraphs>6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Futura Std Heavy</vt:lpstr>
      <vt:lpstr>Futura Std Light</vt:lpstr>
      <vt:lpstr>4_Contents Slide</vt:lpstr>
      <vt:lpstr>5_Contents Slide</vt:lpstr>
      <vt:lpstr>General Slide</vt:lpstr>
      <vt:lpstr>think-cell Slide</vt:lpstr>
      <vt:lpstr>Distribution Platform</vt:lpstr>
      <vt:lpstr>IM Work Stream: Distributor Platform: example</vt:lpstr>
      <vt:lpstr>Distributor Platform Key are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 Distributor Portal</dc:title>
  <dc:creator>Gibbons, Pat</dc:creator>
  <cp:lastModifiedBy>Claridge, Helen</cp:lastModifiedBy>
  <cp:revision>3</cp:revision>
  <dcterms:created xsi:type="dcterms:W3CDTF">2021-01-11T14:47:35Z</dcterms:created>
  <dcterms:modified xsi:type="dcterms:W3CDTF">2021-01-12T09:4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252CCEDE67454BA40D9E59DF59BB5E</vt:lpwstr>
  </property>
</Properties>
</file>